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3" r:id="rId4"/>
    <p:sldMasterId id="2147483674" r:id="rId5"/>
    <p:sldMasterId id="2147483691" r:id="rId6"/>
    <p:sldMasterId id="2147483696" r:id="rId7"/>
    <p:sldMasterId id="2147483703" r:id="rId8"/>
    <p:sldMasterId id="2147483717" r:id="rId9"/>
  </p:sldMasterIdLst>
  <p:notesMasterIdLst>
    <p:notesMasterId r:id="rId70"/>
  </p:notesMasterIdLst>
  <p:sldIdLst>
    <p:sldId id="258" r:id="rId10"/>
    <p:sldId id="260" r:id="rId11"/>
    <p:sldId id="289" r:id="rId12"/>
    <p:sldId id="256" r:id="rId13"/>
    <p:sldId id="277" r:id="rId14"/>
    <p:sldId id="290" r:id="rId15"/>
    <p:sldId id="294" r:id="rId16"/>
    <p:sldId id="295" r:id="rId17"/>
    <p:sldId id="293" r:id="rId18"/>
    <p:sldId id="286" r:id="rId19"/>
    <p:sldId id="305" r:id="rId20"/>
    <p:sldId id="306" r:id="rId21"/>
    <p:sldId id="299" r:id="rId22"/>
    <p:sldId id="304" r:id="rId23"/>
    <p:sldId id="300" r:id="rId24"/>
    <p:sldId id="302" r:id="rId25"/>
    <p:sldId id="303" r:id="rId26"/>
    <p:sldId id="298" r:id="rId27"/>
    <p:sldId id="276" r:id="rId28"/>
    <p:sldId id="288" r:id="rId29"/>
    <p:sldId id="307" r:id="rId30"/>
    <p:sldId id="296" r:id="rId31"/>
    <p:sldId id="308" r:id="rId32"/>
    <p:sldId id="309" r:id="rId33"/>
    <p:sldId id="310" r:id="rId34"/>
    <p:sldId id="297" r:id="rId35"/>
    <p:sldId id="311" r:id="rId36"/>
    <p:sldId id="301" r:id="rId37"/>
    <p:sldId id="312" r:id="rId38"/>
    <p:sldId id="313" r:id="rId39"/>
    <p:sldId id="314" r:id="rId40"/>
    <p:sldId id="315" r:id="rId41"/>
    <p:sldId id="316" r:id="rId42"/>
    <p:sldId id="317" r:id="rId43"/>
    <p:sldId id="318" r:id="rId44"/>
    <p:sldId id="319" r:id="rId45"/>
    <p:sldId id="320" r:id="rId46"/>
    <p:sldId id="287" r:id="rId47"/>
    <p:sldId id="321" r:id="rId48"/>
    <p:sldId id="322" r:id="rId49"/>
    <p:sldId id="323" r:id="rId50"/>
    <p:sldId id="324" r:id="rId51"/>
    <p:sldId id="325" r:id="rId52"/>
    <p:sldId id="326" r:id="rId53"/>
    <p:sldId id="327" r:id="rId54"/>
    <p:sldId id="328" r:id="rId55"/>
    <p:sldId id="329" r:id="rId56"/>
    <p:sldId id="330" r:id="rId57"/>
    <p:sldId id="331" r:id="rId58"/>
    <p:sldId id="332" r:id="rId59"/>
    <p:sldId id="333" r:id="rId60"/>
    <p:sldId id="334" r:id="rId61"/>
    <p:sldId id="335" r:id="rId62"/>
    <p:sldId id="279" r:id="rId63"/>
    <p:sldId id="336" r:id="rId64"/>
    <p:sldId id="337" r:id="rId65"/>
    <p:sldId id="338" r:id="rId66"/>
    <p:sldId id="339" r:id="rId67"/>
    <p:sldId id="340" r:id="rId68"/>
    <p:sldId id="341" r:id="rId69"/>
  </p:sldIdLst>
  <p:sldSz cx="9144000" cy="5143500" type="screen16x9"/>
  <p:notesSz cx="6858000" cy="9144000"/>
  <p:embeddedFontLst>
    <p:embeddedFont>
      <p:font typeface="Microsoft JhengHei" panose="020B0604030504040204" pitchFamily="34" charset="-120"/>
      <p:regular r:id="rId71"/>
      <p:bold r:id="rId72"/>
    </p:embeddedFont>
    <p:embeddedFont>
      <p:font typeface="Avenir Next LT Pro" panose="020B0504020202020204" pitchFamily="34" charset="0"/>
      <p:regular r:id="rId73"/>
      <p:bold r:id="rId74"/>
    </p:embeddedFont>
    <p:embeddedFont>
      <p:font typeface="PT Sans" panose="020B0503020203020204" pitchFamily="34" charset="0"/>
      <p:regular r:id="rId75"/>
    </p:embeddedFont>
    <p:embeddedFont>
      <p:font typeface="Roboto Condensed" panose="02000000000000000000" pitchFamily="2" charset="0"/>
      <p:bold r:id="rId76"/>
    </p:embeddedFont>
    <p:embeddedFont>
      <p:font typeface="Roboto Light" panose="02000000000000000000" pitchFamily="2" charset="0"/>
      <p:regular r:id="rId77"/>
      <p:italic r:id="rId78"/>
    </p:embeddedFont>
    <p:embeddedFont>
      <p:font typeface="Titillium Web SemiBold" panose="00000700000000000000" pitchFamily="2" charset="0"/>
      <p:regular r:id="rId79"/>
      <p:bold r:id="rId80"/>
      <p:italic r:id="rId81"/>
      <p:boldItalic r:id="rId82"/>
    </p:embeddedFont>
    <p:embeddedFont>
      <p:font typeface="Work Sans" pitchFamily="2" charset="0"/>
      <p:regular r:id="rId83"/>
      <p:bold r:id="rId84"/>
      <p:italic r:id="rId85"/>
      <p:boldItalic r:id="rId8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8BB"/>
    <a:srgbClr val="A7A9AC"/>
    <a:srgbClr val="D1E8F4"/>
    <a:srgbClr val="F0F5FB"/>
    <a:srgbClr val="3A76B1"/>
    <a:srgbClr val="007BC1"/>
    <a:srgbClr val="09549D"/>
    <a:srgbClr val="7DC5E5"/>
    <a:srgbClr val="3395CD"/>
    <a:srgbClr val="5DB7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8" d="100"/>
          <a:sy n="128" d="100"/>
        </p:scale>
        <p:origin x="90" y="24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84" Type="http://schemas.openxmlformats.org/officeDocument/2006/relationships/font" Target="fonts/font14.fntdata"/><Relationship Id="rId89" Type="http://schemas.openxmlformats.org/officeDocument/2006/relationships/theme" Target="theme/theme1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font" Target="fonts/font4.fntdata"/><Relationship Id="rId79" Type="http://schemas.openxmlformats.org/officeDocument/2006/relationships/font" Target="fonts/font9.fntdata"/><Relationship Id="rId5" Type="http://schemas.openxmlformats.org/officeDocument/2006/relationships/slideMaster" Target="slideMasters/slideMaster2.xml"/><Relationship Id="rId90" Type="http://schemas.openxmlformats.org/officeDocument/2006/relationships/tableStyles" Target="tableStyles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font" Target="fonts/font7.fntdata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72" Type="http://schemas.openxmlformats.org/officeDocument/2006/relationships/font" Target="fonts/font2.fntdata"/><Relationship Id="rId80" Type="http://schemas.openxmlformats.org/officeDocument/2006/relationships/font" Target="fonts/font10.fntdata"/><Relationship Id="rId85" Type="http://schemas.openxmlformats.org/officeDocument/2006/relationships/font" Target="fonts/font15.fntdata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notesMaster" Target="notesMasters/notesMaster1.xml"/><Relationship Id="rId75" Type="http://schemas.openxmlformats.org/officeDocument/2006/relationships/font" Target="fonts/font5.fntdata"/><Relationship Id="rId83" Type="http://schemas.openxmlformats.org/officeDocument/2006/relationships/font" Target="fonts/font13.fntdata"/><Relationship Id="rId88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font" Target="fonts/font3.fntdata"/><Relationship Id="rId78" Type="http://schemas.openxmlformats.org/officeDocument/2006/relationships/font" Target="fonts/font8.fntdata"/><Relationship Id="rId81" Type="http://schemas.openxmlformats.org/officeDocument/2006/relationships/font" Target="fonts/font11.fntdata"/><Relationship Id="rId86" Type="http://schemas.openxmlformats.org/officeDocument/2006/relationships/font" Target="fonts/font16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font" Target="fonts/font6.fntdata"/><Relationship Id="rId7" Type="http://schemas.openxmlformats.org/officeDocument/2006/relationships/slideMaster" Target="slideMasters/slideMaster4.xml"/><Relationship Id="rId71" Type="http://schemas.openxmlformats.org/officeDocument/2006/relationships/font" Target="fonts/font1.fntdata"/><Relationship Id="rId2" Type="http://schemas.openxmlformats.org/officeDocument/2006/relationships/customXml" Target="../customXml/item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87" Type="http://schemas.openxmlformats.org/officeDocument/2006/relationships/presProps" Target="presProps.xml"/><Relationship Id="rId61" Type="http://schemas.openxmlformats.org/officeDocument/2006/relationships/slide" Target="slides/slide52.xml"/><Relationship Id="rId82" Type="http://schemas.openxmlformats.org/officeDocument/2006/relationships/font" Target="fonts/font12.fntdata"/><Relationship Id="rId19" Type="http://schemas.openxmlformats.org/officeDocument/2006/relationships/slide" Target="slides/slide10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1-17T20:39:39.041"/>
    </inkml:context>
    <inkml:brush xml:id="br0">
      <inkml:brushProperty name="width" value="0.1" units="cm"/>
      <inkml:brushProperty name="height" value="0.1" units="cm"/>
      <inkml:brushProperty name="color" value="#AE198D"/>
      <inkml:brushProperty name="inkEffects" value="galaxy"/>
      <inkml:brushProperty name="anchorX" value="-30871.5332"/>
      <inkml:brushProperty name="anchorY" value="-8420.00391"/>
      <inkml:brushProperty name="scaleFactor" value="0.5"/>
    </inkml:brush>
  </inkml:definitions>
  <inkml:trace contextRef="#ctx0" brushRef="#br0">29 1 24575,'0'0'0,"4"0"0,0 4 0,0 4 0,-1 4 0,-1 3 0,0 3 0,-1 2 0,-1-1 0,-4 2 0,0-1 0,0 1 0,0-1 0,-2-4 0,0-1 0,1 1 0,1 1 0,2 0 0,1 1 0,0 1 0,1 0 0,0 1 0,0-1 0,1 1 0,-5-4 0,0-4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1-17T20:39:40.281"/>
    </inkml:context>
    <inkml:brush xml:id="br0">
      <inkml:brushProperty name="width" value="0.1" units="cm"/>
      <inkml:brushProperty name="height" value="0.1" units="cm"/>
      <inkml:brushProperty name="color" value="#AE198D"/>
      <inkml:brushProperty name="inkEffects" value="galaxy"/>
      <inkml:brushProperty name="anchorX" value="-29564.15625"/>
      <inkml:brushProperty name="anchorY" value="-7685.82861"/>
      <inkml:brushProperty name="scaleFactor" value="0.5"/>
    </inkml:brush>
  </inkml:definitions>
  <inkml:trace contextRef="#ctx0" brushRef="#br0">0 60 24575,'0'0'0,"4"0"0,4 0 0,4 0 0,4-3 0,1-1 0,3 0 0,0-3 0,0 0 0,0 2 0,4 0 0,-3-1 0,-1 0 0,-1 2 0,0 0 0,0 2 0,0 1 0,0 0 0,0 1 0,0 0 0,-3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1-17T20:39:41.777"/>
    </inkml:context>
    <inkml:brush xml:id="br0">
      <inkml:brushProperty name="width" value="0.1" units="cm"/>
      <inkml:brushProperty name="height" value="0.1" units="cm"/>
      <inkml:brushProperty name="color" value="#AE198D"/>
      <inkml:brushProperty name="inkEffects" value="galaxy"/>
      <inkml:brushProperty name="anchorX" value="-31301.74023"/>
      <inkml:brushProperty name="anchorY" value="-8876.65918"/>
      <inkml:brushProperty name="scaleFactor" value="0.5"/>
    </inkml:brush>
  </inkml:definitions>
  <inkml:trace contextRef="#ctx0" brushRef="#br0">1 715 24575,'0'0'0,"0"-3"0,4-2 0,0-3 0,0-3 0,4 1 0,2-3 0,4-2 0,1 3 0,3-2 0,6-1 0,3-5 0,6-1 0,-2-1 0,11-9 0,-3-3 0,6 0 0,-1 4 0,1 1 0,-6 0 0,3 2 0,-6 2 0,-3 2 0,4 1 0,-4 1 0,1 2 0,1-1 0,1-3 0,1 3 0,-3-3 0,5 0 0,-3 4 0,0 6 0,-4-1 0,-3 4 0,-3 1 0,-3 0 0,-2 3 0,-1 3 0,-5-3 0,0 0 0,0 2 0,-3-3 0,-3 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Work Sans" panose="00000500000000000000" pitchFamily="2" charset="0"/>
        <a:ea typeface="Work Sans" panose="00000500000000000000" pitchFamily="2" charset="0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ll in Title</a:t>
            </a:r>
          </a:p>
          <a:p>
            <a:r>
              <a:rPr lang="en-US"/>
              <a:t>Change name of Presenter and Job Title</a:t>
            </a:r>
          </a:p>
          <a:p>
            <a:r>
              <a:rPr lang="en-US"/>
              <a:t>Add company name underneath presenter, if applicable </a:t>
            </a:r>
          </a:p>
          <a:p>
            <a:pPr marL="158750" indent="0">
              <a:buNone/>
            </a:pPr>
            <a:endParaRPr lang="en-NL"/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n you tell something about the kind of software that you are developing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n you tell something about your development process (multisite, agile, …)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re you suffering any software quality issues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re there any software quality constraints/demands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hat kind of quality measures did you already take? 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522523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9667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26134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2B60E-6110-A7F8-B157-897295FFD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946298-7D0C-A855-E76A-84EE9C6790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5824C9-ABD1-1F48-C372-F8976FDB34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4E85E-A433-4FD1-4583-DA81552A9B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9311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BBD94-493A-5752-5E66-D6D5616A3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119E19-EAD0-1636-6494-60108F3E7D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B37DB3-503D-BD52-F134-7EEA3E944E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D06A5-D9B0-101E-F63D-6DFEC869FA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4066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1253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0025" y="1128713"/>
            <a:ext cx="6486525" cy="3649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A13A0D2-6E67-4944-A01A-B099FC8B9EE8}" type="datetime4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November 27, 202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29D5E52-2129-4526-A67E-44A5DCA639D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F224504F-C231-4292-97DB-1D294A4D17CF}" type="datetime4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November 27, 202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29D5E52-2129-4526-A67E-44A5DCA639D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97504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ll in Title</a:t>
            </a:r>
          </a:p>
          <a:p>
            <a:r>
              <a:rPr lang="en-US"/>
              <a:t>Change name of Presenter and Job Title</a:t>
            </a:r>
          </a:p>
          <a:p>
            <a:r>
              <a:rPr lang="en-US"/>
              <a:t>Add company name underneath presenter, if applicable </a:t>
            </a:r>
          </a:p>
          <a:p>
            <a:pPr marL="158750" indent="0">
              <a:buNone/>
            </a:pPr>
            <a:endParaRPr lang="en-NL"/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n you tell something about the kind of software that you are developing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n you tell something about your development process (multisite, agile, …)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re you suffering any software quality issues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re there any software quality constraints/demands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hat kind of quality measures did you already take? 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522523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9367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How many lines of code do you have? Do you know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340493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2636103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How many lines of code do you have? Do you know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340493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636103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0B1AE-51C1-A3B1-36F9-3EAC6C417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D61225-F37C-707A-7566-A76BF6973F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6EC821-E4A0-DB63-112A-D37DFD77A1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049578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4669A-ED45-BBA8-706B-F54A11137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67717E-C107-7C77-905E-AE911EEB57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A8EA22-D49B-A492-2C10-8BB4997A88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46182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85B88-19B5-33E2-61E7-8F369B6B5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D9E123-C8FB-61BB-E9CE-B43428133B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4F1C94-C678-6911-7DE7-340BA68AAB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635852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6381DD-24CF-6240-BB49-DA23C7498F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4679E9-A600-3B29-D212-33BD6B8B35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D98EA2-AFAE-E697-338A-9F8BAC54C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444020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AB7F5E-D419-C1A6-D3BF-6ADA5DCAC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3CC056-E48A-1E64-29FB-F5EE4A770C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509D4D-F672-3B95-B157-2977AF5F02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62439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390B9-1CC1-0C43-1EE7-728D1BA84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6938F2-A10B-FF11-13F1-F775A10AD3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B0A7EF-7314-229E-5B4C-17EB5A516A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087288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67D12C-509F-7253-D603-CAD0EF5D5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721F6D-B895-C199-4293-5DF1FE4E0C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81E5DE-9212-D9CB-75D6-5AE8967289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4154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6361036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BB025-1238-85B6-E184-9F94C5EBC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E525B8-AFB6-DDB6-CA50-891B0BF067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155AD-18D8-740C-D3AC-CC868CF2A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996440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2CCB0C-F079-CA8B-4AC8-05EE88C83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AF0CF2-F677-A7EC-6D36-42B88EF360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455AED-8917-915B-342C-576F751CF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8469377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1B7F79-E9C3-F56B-277F-8A35C6260D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505177-92D8-4588-3F97-6BA63D63B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2FD3CA-BF5D-E514-EEE6-44D17CBE46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905404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924FF-8E10-E15B-CF4C-3D6197AA61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FFEE39-210B-4357-6EF9-14A978CADE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4F376D-E172-471E-4D46-A7C3183D31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513109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FCDF1B-6368-409E-8BBA-471194C91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F19BAC-1868-D1D8-F0B1-876A5DEA0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183848-B2C5-FB16-652B-01EA9EE7A4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997588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6B306A-0A2D-B74F-3328-B065518E1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7A570A-54CF-FF46-D78D-E65D2234C3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25E92F-36F9-3ECB-D8BA-D6666697A0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here do you think you are in this model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hat is the next step in your journey according to you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383380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o you know the ISO 25010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f so, do you use it in some way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5206831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40405-852F-8CA3-B454-AF3720EE0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37250C-F79D-251E-47E7-7C72C6643A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D66565-E6FE-0F71-25B6-5DC06474AA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o you know the ISO 25010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f so, do you use it in some way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58750" indent="0">
              <a:buNone/>
            </a:pP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593905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8261D-6162-B209-32E0-99F32A76CA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D17EE0-DDE8-059A-14A1-D77474DCD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DAD355-769E-AC4B-A958-4F26B821FC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779066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211C0-F1DE-9EFD-4884-BB1E09696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97A40-A224-1084-18C8-7CF6CC893E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E80C9A-358E-8858-D033-307E475D7A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44574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86437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EA4BD1-BB07-F74C-FBCC-A93837259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FAFBD8-086E-36DA-F89A-4985FEC84C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8CBC86-F0A4-32AB-0DAA-648010E0B1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0932207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CC467-1B3B-4055-09FB-DB3A2DD3E5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B1568D-613F-BCC0-2ECF-F4F0606057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7A4DB7-D489-79CF-6DF7-4FAA4D884D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8359475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6D3A4-091C-5D87-E6AA-0A5A78262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724115-7839-91B9-9471-D025CBA319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06ADC5-201D-1554-4392-6CDE0E5F45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 sz="18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Do you require specific certification?</a:t>
            </a:r>
            <a:endParaRPr lang="en-NL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746197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7716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439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5E7733-B9FB-30F0-73CA-3E26065A3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AB79FB-5D83-A3A9-7C38-169085894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2FA136-6DD8-31C1-3157-853A6AE9D3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2C6005-62E8-3B8D-D6C1-9B77298EC6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2484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C3F6D-BE58-BC04-2D65-AB5770BFF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F2787C-2A6C-2039-01D1-792B656F74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8C9D27-CDA0-4416-0C6E-8A508941DB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EC5241-17D1-6E49-9301-CF4ED5AE3B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7950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B201D7-1B5C-3572-E402-36D9D1C803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268C0F-F5FA-7126-A3E7-8ED1BC626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E03D42-A248-A5F9-5F63-2EA77BD07E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EB4F0D-1CCE-2D5D-EE60-E03B570A7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895658-EA1F-4910-80AB-4DA76E167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0847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10" Type="http://schemas.openxmlformats.org/officeDocument/2006/relationships/image" Target="../media/image14.png"/><Relationship Id="rId4" Type="http://schemas.openxmlformats.org/officeDocument/2006/relationships/image" Target="../media/image23.png"/><Relationship Id="rId9" Type="http://schemas.openxmlformats.org/officeDocument/2006/relationships/image" Target="../media/image11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33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2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ADA2D-FD0D-4D61-9438-7E8B00990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7882" y="1676400"/>
            <a:ext cx="5627594" cy="165174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800">
                <a:latin typeface="Titillium Web SemiBold" panose="00000700000000000000" pitchFamily="2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 Presentation</a:t>
            </a:r>
            <a:endParaRPr lang="en-NL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143870-620B-4BAD-8AD6-4163DB40E843}"/>
              </a:ext>
            </a:extLst>
          </p:cNvPr>
          <p:cNvSpPr txBox="1"/>
          <p:nvPr/>
        </p:nvSpPr>
        <p:spPr>
          <a:xfrm>
            <a:off x="537881" y="3464875"/>
            <a:ext cx="25347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>
                <a:solidFill>
                  <a:srgbClr val="3A76B1"/>
                </a:solidFill>
                <a:latin typeface="Titillium Web SemiBold" panose="00000700000000000000" pitchFamily="2" charset="0"/>
              </a:rPr>
              <a:t>TIOBE Software</a:t>
            </a:r>
            <a:endParaRPr lang="en-NL" sz="2400" b="0">
              <a:solidFill>
                <a:srgbClr val="3A76B1"/>
              </a:solidFill>
              <a:latin typeface="Titillium Web SemiBold" panose="000007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D7A7A3-436D-440A-91B3-390D96301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881" y="3925888"/>
            <a:ext cx="5627595" cy="79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er, Job title</a:t>
            </a:r>
          </a:p>
          <a:p>
            <a:r>
              <a:rPr lang="en-US"/>
              <a:t>Presenting Company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D1756EB-59C9-4BAE-B247-F90836654A67}"/>
              </a:ext>
            </a:extLst>
          </p:cNvPr>
          <p:cNvSpPr txBox="1">
            <a:spLocks/>
          </p:cNvSpPr>
          <p:nvPr userDrawn="1"/>
        </p:nvSpPr>
        <p:spPr>
          <a:xfrm>
            <a:off x="537882" y="3926540"/>
            <a:ext cx="5627594" cy="67907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rgbClr val="3A76B1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457200" marR="0" lvl="1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NL"/>
          </a:p>
        </p:txBody>
      </p:sp>
      <p:sp>
        <p:nvSpPr>
          <p:cNvPr id="12" name="Google Shape;294;p36">
            <a:extLst>
              <a:ext uri="{FF2B5EF4-FFF2-40B4-BE49-F238E27FC236}">
                <a16:creationId xmlns:a16="http://schemas.microsoft.com/office/drawing/2014/main" id="{69C035C2-895A-4AD8-8D46-E4C04F5A39E2}"/>
              </a:ext>
            </a:extLst>
          </p:cNvPr>
          <p:cNvSpPr/>
          <p:nvPr userDrawn="1"/>
        </p:nvSpPr>
        <p:spPr>
          <a:xfrm>
            <a:off x="7353385" y="4903641"/>
            <a:ext cx="2907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625" tIns="40825" rIns="81625" bIns="40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l-NL" sz="900" u="sng">
                <a:solidFill>
                  <a:srgbClr val="0563C1"/>
                </a:solidFill>
                <a:effectLst/>
                <a:latin typeface="+mj-lt"/>
                <a:ea typeface="Calibri" panose="020F0502020204030204" pitchFamily="34" charset="0"/>
              </a:rPr>
              <a:t>info@tiobe.com</a:t>
            </a:r>
            <a:r>
              <a:rPr lang="nl" sz="900">
                <a:solidFill>
                  <a:srgbClr val="3D3F3E"/>
                </a:solidFill>
                <a:latin typeface="+mj-lt"/>
                <a:ea typeface="Roboto"/>
                <a:cs typeface="Roboto"/>
                <a:sym typeface="Roboto"/>
              </a:rPr>
              <a:t> | TIOBE Software</a:t>
            </a:r>
            <a:endParaRPr sz="900">
              <a:solidFill>
                <a:srgbClr val="3D3F3E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287925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 userDrawn="1">
  <p:cSld name="Title, 6 Content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6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6"/>
          <p:cNvSpPr txBox="1">
            <a:spLocks noGrp="1"/>
          </p:cNvSpPr>
          <p:nvPr>
            <p:ph type="body" idx="2"/>
          </p:nvPr>
        </p:nvSpPr>
        <p:spPr>
          <a:xfrm>
            <a:off x="3239388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26"/>
          <p:cNvSpPr txBox="1">
            <a:spLocks noGrp="1"/>
          </p:cNvSpPr>
          <p:nvPr>
            <p:ph type="body" idx="3"/>
          </p:nvPr>
        </p:nvSpPr>
        <p:spPr>
          <a:xfrm>
            <a:off x="6021277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body" idx="4"/>
          </p:nvPr>
        </p:nvSpPr>
        <p:spPr>
          <a:xfrm>
            <a:off x="457172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6"/>
          <p:cNvSpPr txBox="1">
            <a:spLocks noGrp="1"/>
          </p:cNvSpPr>
          <p:nvPr>
            <p:ph type="body" idx="5"/>
          </p:nvPr>
        </p:nvSpPr>
        <p:spPr>
          <a:xfrm>
            <a:off x="3239388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body" idx="6"/>
          </p:nvPr>
        </p:nvSpPr>
        <p:spPr>
          <a:xfrm>
            <a:off x="6021277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0CD96F72-7685-44CB-B084-D77004805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userDrawn="1">
  <p:cSld name="Title, 2 Content and Conten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B5FF9E-04DE-6E6E-2902-7311EA4C0E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73600" y="1203325"/>
            <a:ext cx="4013200" cy="2981325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76" name="Google Shape;76;p21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1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C48E7B38-023C-404E-806C-8DB68E600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17267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userDrawn="1">
  <p:cSld name="Title Content and 2 Content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2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29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2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2"/>
          <p:cNvSpPr txBox="1">
            <a:spLocks noGrp="1"/>
          </p:cNvSpPr>
          <p:nvPr>
            <p:ph type="body" idx="3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1635DF2F-446A-469B-981D-055C63AF5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userDrawn="1">
  <p:cSld name="Title, 2 Content over Content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3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3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82287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F57BDFE9-BD56-4BEC-A0E1-C6707B1B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userDrawn="1">
  <p:cSld name="Title, 4 Conten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5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body" idx="4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1F802F18-D930-461E-AF3E-DC4CED3DD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 userDrawn="1">
  <p:cSld name="Title, 6 Content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6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6"/>
          <p:cNvSpPr txBox="1">
            <a:spLocks noGrp="1"/>
          </p:cNvSpPr>
          <p:nvPr>
            <p:ph type="body" idx="2"/>
          </p:nvPr>
        </p:nvSpPr>
        <p:spPr>
          <a:xfrm>
            <a:off x="3239388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26"/>
          <p:cNvSpPr txBox="1">
            <a:spLocks noGrp="1"/>
          </p:cNvSpPr>
          <p:nvPr>
            <p:ph type="body" idx="3"/>
          </p:nvPr>
        </p:nvSpPr>
        <p:spPr>
          <a:xfrm>
            <a:off x="6021277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body" idx="4"/>
          </p:nvPr>
        </p:nvSpPr>
        <p:spPr>
          <a:xfrm>
            <a:off x="457172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6"/>
          <p:cNvSpPr txBox="1">
            <a:spLocks noGrp="1"/>
          </p:cNvSpPr>
          <p:nvPr>
            <p:ph type="body" idx="5"/>
          </p:nvPr>
        </p:nvSpPr>
        <p:spPr>
          <a:xfrm>
            <a:off x="3239388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body" idx="6"/>
          </p:nvPr>
        </p:nvSpPr>
        <p:spPr>
          <a:xfrm>
            <a:off x="6021277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0CD96F72-7685-44CB-B084-D77004805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userDrawn="1">
  <p:cSld name="Title, Content over Content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4"/>
          <p:cNvSpPr txBox="1">
            <a:spLocks noGrp="1"/>
          </p:cNvSpPr>
          <p:nvPr>
            <p:ph type="body" idx="1" hasCustomPrompt="1"/>
          </p:nvPr>
        </p:nvSpPr>
        <p:spPr>
          <a:xfrm>
            <a:off x="457172" y="1203299"/>
            <a:ext cx="8228700" cy="531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 sz="2400">
                <a:solidFill>
                  <a:srgbClr val="2E78BB"/>
                </a:solidFill>
                <a:latin typeface="+mj-lt"/>
              </a:defRPr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lang="en-US"/>
              <a:t>Header</a:t>
            </a:r>
          </a:p>
        </p:txBody>
      </p:sp>
      <p:sp>
        <p:nvSpPr>
          <p:cNvPr id="92" name="Google Shape;92;p24"/>
          <p:cNvSpPr txBox="1">
            <a:spLocks noGrp="1"/>
          </p:cNvSpPr>
          <p:nvPr>
            <p:ph type="body" idx="2"/>
          </p:nvPr>
        </p:nvSpPr>
        <p:spPr>
          <a:xfrm>
            <a:off x="457172" y="1848971"/>
            <a:ext cx="8228700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11F167C5-F157-4CA9-A6BC-CE7C546A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6485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and Content" userDrawn="1">
  <p:cSld name="Title, 2 Content and Conten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B5FF9E-04DE-6E6E-2902-7311EA4C0E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73600" y="1203325"/>
            <a:ext cx="4013200" cy="2981325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76" name="Google Shape;76;p21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1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C48E7B38-023C-404E-806C-8DB68E600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17267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9AF4D7D-42EC-4F30-296A-81B05C4E7D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5132319" cy="5143500"/>
            <a:chOff x="0" y="0"/>
            <a:chExt cx="6843092" cy="6858000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0685D98A-CA5A-4C48-9AEB-4C1A201237A1}"/>
                </a:ext>
              </a:extLst>
            </p:cNvPr>
            <p:cNvSpPr/>
            <p:nvPr userDrawn="1"/>
          </p:nvSpPr>
          <p:spPr>
            <a:xfrm>
              <a:off x="2021206" y="4828032"/>
              <a:ext cx="2029968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F97041-3EE3-4F17-990B-3AC264934EF0}"/>
                </a:ext>
              </a:extLst>
            </p:cNvPr>
            <p:cNvSpPr/>
            <p:nvPr userDrawn="1"/>
          </p:nvSpPr>
          <p:spPr>
            <a:xfrm>
              <a:off x="0" y="0"/>
              <a:ext cx="2029968" cy="2029968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1DA30E2-82DB-4AA1-B134-9482F5CD7689}"/>
                </a:ext>
              </a:extLst>
            </p:cNvPr>
            <p:cNvSpPr/>
            <p:nvPr userDrawn="1"/>
          </p:nvSpPr>
          <p:spPr>
            <a:xfrm>
              <a:off x="2457970" y="1686431"/>
              <a:ext cx="1828800" cy="1828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502070B-3F7D-436A-849C-FB64175E8B45}"/>
                </a:ext>
              </a:extLst>
            </p:cNvPr>
            <p:cNvSpPr/>
            <p:nvPr userDrawn="1"/>
          </p:nvSpPr>
          <p:spPr>
            <a:xfrm>
              <a:off x="0" y="6108192"/>
              <a:ext cx="2029968" cy="7498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" name="Rectangle 9">
              <a:extLst>
                <a:ext uri="{FF2B5EF4-FFF2-40B4-BE49-F238E27FC236}">
                  <a16:creationId xmlns:a16="http://schemas.microsoft.com/office/drawing/2014/main" id="{675AAC8A-F8AB-44A3-9748-96464E9E0B6B}"/>
                </a:ext>
              </a:extLst>
            </p:cNvPr>
            <p:cNvSpPr/>
            <p:nvPr userDrawn="1"/>
          </p:nvSpPr>
          <p:spPr>
            <a:xfrm>
              <a:off x="4054172" y="4069080"/>
              <a:ext cx="2788920" cy="2788920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AC3F6810-4D95-4C6E-A30A-459BAD7510FE}"/>
                </a:ext>
              </a:extLst>
            </p:cNvPr>
            <p:cNvGrpSpPr/>
            <p:nvPr userDrawn="1"/>
          </p:nvGrpSpPr>
          <p:grpSpPr>
            <a:xfrm>
              <a:off x="23853" y="2101527"/>
              <a:ext cx="1920240" cy="1920240"/>
              <a:chOff x="5361924" y="7472790"/>
              <a:chExt cx="1828800" cy="1828800"/>
            </a:xfrm>
          </p:grpSpPr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81973B3A-7185-45FB-A2E6-A7BDE6414DF3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DACFFF66-0600-406E-AF42-9FD8E8EDB397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96" name="Group 95">
                    <a:extLst>
                      <a:ext uri="{FF2B5EF4-FFF2-40B4-BE49-F238E27FC236}">
                        <a16:creationId xmlns:a16="http://schemas.microsoft.com/office/drawing/2014/main" id="{9411687D-2631-487B-AEAB-39750C9E52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90" name="Group 89">
                      <a:extLst>
                        <a:ext uri="{FF2B5EF4-FFF2-40B4-BE49-F238E27FC236}">
                          <a16:creationId xmlns:a16="http://schemas.microsoft.com/office/drawing/2014/main" id="{4BDDEAF6-0726-4BF4-96D7-EBA489ABF3E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89" name="Group 88">
                        <a:extLst>
                          <a:ext uri="{FF2B5EF4-FFF2-40B4-BE49-F238E27FC236}">
                            <a16:creationId xmlns:a16="http://schemas.microsoft.com/office/drawing/2014/main" id="{F80BBFBA-D0FB-4E20-8981-F569A2A0B678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86" name="Group 85">
                          <a:extLst>
                            <a:ext uri="{FF2B5EF4-FFF2-40B4-BE49-F238E27FC236}">
                              <a16:creationId xmlns:a16="http://schemas.microsoft.com/office/drawing/2014/main" id="{6B3BCF7C-4204-4B1A-8371-96E859FC8425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83" name="Group 82">
                            <a:extLst>
                              <a:ext uri="{FF2B5EF4-FFF2-40B4-BE49-F238E27FC236}">
                                <a16:creationId xmlns:a16="http://schemas.microsoft.com/office/drawing/2014/main" id="{31CF95CD-48BB-4659-870A-21584266D83F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78" name="Oval 77">
                              <a:extLst>
                                <a:ext uri="{FF2B5EF4-FFF2-40B4-BE49-F238E27FC236}">
                                  <a16:creationId xmlns:a16="http://schemas.microsoft.com/office/drawing/2014/main" id="{871E1954-F3FD-427D-8FFA-F28839673545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80" name="Oval 79">
                              <a:extLst>
                                <a:ext uri="{FF2B5EF4-FFF2-40B4-BE49-F238E27FC236}">
                                  <a16:creationId xmlns:a16="http://schemas.microsoft.com/office/drawing/2014/main" id="{B655BD1D-8AE2-43E7-B1D4-17923D0E0171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82" name="Oval 81">
                            <a:extLst>
                              <a:ext uri="{FF2B5EF4-FFF2-40B4-BE49-F238E27FC236}">
                                <a16:creationId xmlns:a16="http://schemas.microsoft.com/office/drawing/2014/main" id="{9F92C461-5E10-49F3-B4F0-F320512C0756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85" name="Oval 84">
                          <a:extLst>
                            <a:ext uri="{FF2B5EF4-FFF2-40B4-BE49-F238E27FC236}">
                              <a16:creationId xmlns:a16="http://schemas.microsoft.com/office/drawing/2014/main" id="{A6D57951-375C-41E9-BF45-DFC40F8E0A1A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88" name="Oval 87">
                        <a:extLst>
                          <a:ext uri="{FF2B5EF4-FFF2-40B4-BE49-F238E27FC236}">
                            <a16:creationId xmlns:a16="http://schemas.microsoft.com/office/drawing/2014/main" id="{E4A4216D-DF9B-4DD9-989C-1F4040F3F4F7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92" name="Oval 91">
                      <a:extLst>
                        <a:ext uri="{FF2B5EF4-FFF2-40B4-BE49-F238E27FC236}">
                          <a16:creationId xmlns:a16="http://schemas.microsoft.com/office/drawing/2014/main" id="{3DCCC81D-9EE7-47A8-8A4C-74B5E047A33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95" name="Oval 94">
                    <a:extLst>
                      <a:ext uri="{FF2B5EF4-FFF2-40B4-BE49-F238E27FC236}">
                        <a16:creationId xmlns:a16="http://schemas.microsoft.com/office/drawing/2014/main" id="{9985F9FD-CFFB-417E-A560-28BD7BC7EE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98" name="Oval 97">
                  <a:extLst>
                    <a:ext uri="{FF2B5EF4-FFF2-40B4-BE49-F238E27FC236}">
                      <a16:creationId xmlns:a16="http://schemas.microsoft.com/office/drawing/2014/main" id="{9A923F7B-7D75-4E04-AE62-D5B99F645756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F0239D2C-73EF-42E3-B73F-E69B7C27F65B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59BA1C3D-ADED-4596-8A9D-3DEC7E848945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015F2BFA-6803-42A0-A870-794B120EF574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E09A173D-9FE5-446C-B59E-5D7C0A00BF6C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74C3792-995F-4717-8C8B-089BBA7DE9C7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8FD950B-0E2B-4905-8DE9-195E24B2ABE7}"/>
                </a:ext>
              </a:extLst>
            </p:cNvPr>
            <p:cNvSpPr/>
            <p:nvPr userDrawn="1"/>
          </p:nvSpPr>
          <p:spPr>
            <a:xfrm rot="10800000">
              <a:off x="1013527" y="2043171"/>
              <a:ext cx="1014984" cy="2029968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168" name="Rectangle 9">
              <a:extLst>
                <a:ext uri="{FF2B5EF4-FFF2-40B4-BE49-F238E27FC236}">
                  <a16:creationId xmlns:a16="http://schemas.microsoft.com/office/drawing/2014/main" id="{D0B57759-E007-4FD0-9C6B-356DC53050C4}"/>
                </a:ext>
              </a:extLst>
            </p:cNvPr>
            <p:cNvSpPr/>
            <p:nvPr userDrawn="1"/>
          </p:nvSpPr>
          <p:spPr>
            <a:xfrm rot="5400000">
              <a:off x="2028432" y="4821048"/>
              <a:ext cx="2029968" cy="2029968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273C520A-0126-47DA-A75B-1A38883907A2}"/>
                </a:ext>
              </a:extLst>
            </p:cNvPr>
            <p:cNvSpPr/>
            <p:nvPr userDrawn="1"/>
          </p:nvSpPr>
          <p:spPr>
            <a:xfrm>
              <a:off x="861942" y="888111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AB12487D-8BC9-4BEB-B6A7-B9DD702B2BD3}"/>
                </a:ext>
              </a:extLst>
            </p:cNvPr>
            <p:cNvSpPr/>
            <p:nvPr userDrawn="1"/>
          </p:nvSpPr>
          <p:spPr>
            <a:xfrm>
              <a:off x="0" y="4082178"/>
              <a:ext cx="2029968" cy="202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97" name="Graphic 296">
              <a:extLst>
                <a:ext uri="{FF2B5EF4-FFF2-40B4-BE49-F238E27FC236}">
                  <a16:creationId xmlns:a16="http://schemas.microsoft.com/office/drawing/2014/main" id="{AEE6DE36-A3C9-4D40-B471-F49B6A875D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2029016" y="2051944"/>
              <a:ext cx="2029968" cy="2029968"/>
            </a:xfrm>
            <a:prstGeom prst="rect">
              <a:avLst/>
            </a:prstGeom>
          </p:spPr>
        </p:pic>
        <p:pic>
          <p:nvPicPr>
            <p:cNvPr id="299" name="Graphic 298">
              <a:extLst>
                <a:ext uri="{FF2B5EF4-FFF2-40B4-BE49-F238E27FC236}">
                  <a16:creationId xmlns:a16="http://schemas.microsoft.com/office/drawing/2014/main" id="{99FF86FA-8891-4235-B88B-CFCA3B57E5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0" y="4078224"/>
              <a:ext cx="2029968" cy="2029968"/>
            </a:xfrm>
            <a:prstGeom prst="rect">
              <a:avLst/>
            </a:prstGeom>
          </p:spPr>
        </p:pic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7ADD6DC9-9036-47C7-AAE5-8AF23CE0C8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376" y="989441"/>
              <a:ext cx="5867327" cy="586720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36079" y="508439"/>
            <a:ext cx="5142219" cy="2692947"/>
          </a:xfrm>
        </p:spPr>
        <p:txBody>
          <a:bodyPr anchor="ctr"/>
          <a:lstStyle>
            <a:lvl1pPr algn="l">
              <a:defRPr sz="45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5348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240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729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0462" y="322096"/>
            <a:ext cx="4757738" cy="2001347"/>
          </a:xfrm>
        </p:spPr>
        <p:txBody>
          <a:bodyPr anchor="b" anchorCtr="0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83B974-C7F1-5026-EC6E-647371B64BB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04034" y="2474965"/>
            <a:ext cx="4754166" cy="2001347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1pPr>
            <a:lvl2pPr marL="342900">
              <a:lnSpc>
                <a:spcPts val="1500"/>
              </a:lnSpc>
              <a:defRPr sz="1350"/>
            </a:lvl2pPr>
            <a:lvl3pPr marL="685800">
              <a:lnSpc>
                <a:spcPts val="1500"/>
              </a:lnSpc>
              <a:defRPr sz="1350"/>
            </a:lvl3pPr>
            <a:lvl4pPr marL="1028700">
              <a:lnSpc>
                <a:spcPts val="1500"/>
              </a:lnSpc>
              <a:defRPr sz="1350"/>
            </a:lvl4pPr>
            <a:lvl5pPr marL="1371600">
              <a:lnSpc>
                <a:spcPts val="1500"/>
              </a:lnSpc>
              <a:defRPr sz="13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64914EB-20DD-97B4-8FF9-94D739D21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7400" y="-5815"/>
            <a:ext cx="3140652" cy="5149315"/>
            <a:chOff x="-9867" y="-7753"/>
            <a:chExt cx="4187536" cy="6865753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407AED1-9974-465A-BC9C-530E270105DE}"/>
                </a:ext>
              </a:extLst>
            </p:cNvPr>
            <p:cNvSpPr/>
            <p:nvPr userDrawn="1"/>
          </p:nvSpPr>
          <p:spPr>
            <a:xfrm flipH="1">
              <a:off x="0" y="2021358"/>
              <a:ext cx="2032942" cy="202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08ADBC6-C9BE-4302-A86A-4AC842874C24}"/>
                </a:ext>
              </a:extLst>
            </p:cNvPr>
            <p:cNvSpPr/>
            <p:nvPr userDrawn="1"/>
          </p:nvSpPr>
          <p:spPr>
            <a:xfrm>
              <a:off x="2029604" y="2031653"/>
              <a:ext cx="2029968" cy="2029968"/>
            </a:xfrm>
            <a:custGeom>
              <a:avLst/>
              <a:gdLst>
                <a:gd name="connsiteX0" fmla="*/ 0 w 2029968"/>
                <a:gd name="connsiteY0" fmla="*/ 0 h 2029968"/>
                <a:gd name="connsiteX1" fmla="*/ 2029968 w 2029968"/>
                <a:gd name="connsiteY1" fmla="*/ 0 h 2029968"/>
                <a:gd name="connsiteX2" fmla="*/ 2029968 w 2029968"/>
                <a:gd name="connsiteY2" fmla="*/ 2029968 h 2029968"/>
                <a:gd name="connsiteX3" fmla="*/ 0 w 2029968"/>
                <a:gd name="connsiteY3" fmla="*/ 2029968 h 2029968"/>
                <a:gd name="connsiteX4" fmla="*/ 0 w 2029968"/>
                <a:gd name="connsiteY4" fmla="*/ 0 h 2029968"/>
                <a:gd name="connsiteX0" fmla="*/ 0 w 2029968"/>
                <a:gd name="connsiteY0" fmla="*/ 0 h 2029968"/>
                <a:gd name="connsiteX1" fmla="*/ 2029968 w 2029968"/>
                <a:gd name="connsiteY1" fmla="*/ 2029968 h 2029968"/>
                <a:gd name="connsiteX2" fmla="*/ 0 w 2029968"/>
                <a:gd name="connsiteY2" fmla="*/ 2029968 h 2029968"/>
                <a:gd name="connsiteX3" fmla="*/ 0 w 2029968"/>
                <a:gd name="connsiteY3" fmla="*/ 0 h 20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9968" h="2029968">
                  <a:moveTo>
                    <a:pt x="0" y="0"/>
                  </a:moveTo>
                  <a:lnTo>
                    <a:pt x="2029968" y="2029968"/>
                  </a:lnTo>
                  <a:lnTo>
                    <a:pt x="0" y="2029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2B04AFC-F339-4DFB-AA44-D68317065E02}"/>
                </a:ext>
              </a:extLst>
            </p:cNvPr>
            <p:cNvSpPr/>
            <p:nvPr userDrawn="1"/>
          </p:nvSpPr>
          <p:spPr>
            <a:xfrm>
              <a:off x="2028253" y="4052815"/>
              <a:ext cx="2029968" cy="20299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0" name="Picture 19" descr="A black and white striped pattern&#10;&#10;Description automatically generated with low confidence">
              <a:extLst>
                <a:ext uri="{FF2B5EF4-FFF2-40B4-BE49-F238E27FC236}">
                  <a16:creationId xmlns:a16="http://schemas.microsoft.com/office/drawing/2014/main" id="{E88B2398-8473-499F-836C-F3AF518F5B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015" y="5086646"/>
              <a:ext cx="2019299" cy="999451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1BC9BFE-80C0-4DA9-92DB-070C41E412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0800000">
              <a:off x="-9867" y="-1076"/>
              <a:ext cx="2029968" cy="2029968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522571C-09D3-4F39-B963-76F80D9973F1}"/>
                </a:ext>
              </a:extLst>
            </p:cNvPr>
            <p:cNvSpPr/>
            <p:nvPr userDrawn="1"/>
          </p:nvSpPr>
          <p:spPr>
            <a:xfrm>
              <a:off x="2029968" y="6045049"/>
              <a:ext cx="2029968" cy="81295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0268D7D-D5FB-492C-8D00-3E866534BD42}"/>
                </a:ext>
              </a:extLst>
            </p:cNvPr>
            <p:cNvSpPr/>
            <p:nvPr userDrawn="1"/>
          </p:nvSpPr>
          <p:spPr>
            <a:xfrm flipH="1">
              <a:off x="0" y="4828032"/>
              <a:ext cx="2032942" cy="202996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4BCEF24-C76B-44E5-A457-E55658E8EB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2860" y="4828032"/>
              <a:ext cx="2029968" cy="2029968"/>
            </a:xfrm>
            <a:prstGeom prst="rect">
              <a:avLst/>
            </a:prstGeom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8216784-417D-44A8-8CF1-C0CAF410EB9B}"/>
                </a:ext>
              </a:extLst>
            </p:cNvPr>
            <p:cNvGrpSpPr/>
            <p:nvPr userDrawn="1"/>
          </p:nvGrpSpPr>
          <p:grpSpPr>
            <a:xfrm>
              <a:off x="100242" y="2099803"/>
              <a:ext cx="1920240" cy="1920240"/>
              <a:chOff x="5361924" y="7472790"/>
              <a:chExt cx="1828800" cy="1828800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FFF90BA2-E949-4FDF-A88E-B68F607E3205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41F18930-2C24-4BA6-A1EB-BF1644EE8558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D5953E65-C24C-4C83-86BB-E4A6D2532FD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51" name="Group 50">
                      <a:extLst>
                        <a:ext uri="{FF2B5EF4-FFF2-40B4-BE49-F238E27FC236}">
                          <a16:creationId xmlns:a16="http://schemas.microsoft.com/office/drawing/2014/main" id="{0B9DA7A8-A66E-4E0E-92DF-B3FF112EBB70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53" name="Group 52">
                        <a:extLst>
                          <a:ext uri="{FF2B5EF4-FFF2-40B4-BE49-F238E27FC236}">
                            <a16:creationId xmlns:a16="http://schemas.microsoft.com/office/drawing/2014/main" id="{94E74739-1964-4A3C-B2E5-28FEF5EF8E49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55" name="Group 54">
                          <a:extLst>
                            <a:ext uri="{FF2B5EF4-FFF2-40B4-BE49-F238E27FC236}">
                              <a16:creationId xmlns:a16="http://schemas.microsoft.com/office/drawing/2014/main" id="{E31C22DC-76BD-4E83-8A1A-B7AE70B2E8FE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57" name="Group 56">
                            <a:extLst>
                              <a:ext uri="{FF2B5EF4-FFF2-40B4-BE49-F238E27FC236}">
                                <a16:creationId xmlns:a16="http://schemas.microsoft.com/office/drawing/2014/main" id="{F63C700C-5749-4BA1-8128-78559312E825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59" name="Oval 58">
                              <a:extLst>
                                <a:ext uri="{FF2B5EF4-FFF2-40B4-BE49-F238E27FC236}">
                                  <a16:creationId xmlns:a16="http://schemas.microsoft.com/office/drawing/2014/main" id="{EC81C305-3A69-4634-8A07-56F8272122AF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60" name="Oval 59">
                              <a:extLst>
                                <a:ext uri="{FF2B5EF4-FFF2-40B4-BE49-F238E27FC236}">
                                  <a16:creationId xmlns:a16="http://schemas.microsoft.com/office/drawing/2014/main" id="{A14AAEDA-8F87-420D-A6BD-FF115C08EB7A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58" name="Oval 57">
                            <a:extLst>
                              <a:ext uri="{FF2B5EF4-FFF2-40B4-BE49-F238E27FC236}">
                                <a16:creationId xmlns:a16="http://schemas.microsoft.com/office/drawing/2014/main" id="{A1FA4EA0-701D-49A3-8962-1BD0CE6E9C0E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56" name="Oval 55">
                          <a:extLst>
                            <a:ext uri="{FF2B5EF4-FFF2-40B4-BE49-F238E27FC236}">
                              <a16:creationId xmlns:a16="http://schemas.microsoft.com/office/drawing/2014/main" id="{E362A8AA-1110-4C1C-9922-60F7D43E82B0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54" name="Oval 53">
                        <a:extLst>
                          <a:ext uri="{FF2B5EF4-FFF2-40B4-BE49-F238E27FC236}">
                            <a16:creationId xmlns:a16="http://schemas.microsoft.com/office/drawing/2014/main" id="{BC8B72EE-335A-4030-B500-7E6FB4D24F18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52" name="Oval 51">
                      <a:extLst>
                        <a:ext uri="{FF2B5EF4-FFF2-40B4-BE49-F238E27FC236}">
                          <a16:creationId xmlns:a16="http://schemas.microsoft.com/office/drawing/2014/main" id="{10167348-D9AA-4440-8569-849A6B0F2C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A5616AB2-7A83-42C0-883C-FFA27D5468C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6A9CA073-4F0B-4787-B46D-7886261E945E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9AF901A3-1EC5-458F-A653-74CCEAE9A13D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4D5E35A9-4BB5-48F3-AE34-E1BDD3343EB1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A9A549D5-A823-49C4-8C36-D074E6E039B9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6A767C47-7246-4B50-8E78-82766365754A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AEE1DDC-07C3-4204-A3B1-BB7C77C0622B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5DA288D-BE35-46E8-AA86-9F28D8504DAB}"/>
                </a:ext>
              </a:extLst>
            </p:cNvPr>
            <p:cNvSpPr/>
            <p:nvPr userDrawn="1"/>
          </p:nvSpPr>
          <p:spPr>
            <a:xfrm>
              <a:off x="0" y="4043197"/>
              <a:ext cx="2029968" cy="784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2557B54-30A3-4192-9D51-EE28AF522DE9}"/>
                </a:ext>
              </a:extLst>
            </p:cNvPr>
            <p:cNvSpPr/>
            <p:nvPr userDrawn="1"/>
          </p:nvSpPr>
          <p:spPr>
            <a:xfrm>
              <a:off x="0" y="2021358"/>
              <a:ext cx="1014984" cy="2029968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08FD0E-034D-4DF3-85D7-F0EBE2775B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632" y="-7753"/>
              <a:ext cx="4052352" cy="404086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E20239FE-47D0-4B4F-8440-F859F368C141}"/>
                </a:ext>
              </a:extLst>
            </p:cNvPr>
            <p:cNvSpPr/>
            <p:nvPr userDrawn="1"/>
          </p:nvSpPr>
          <p:spPr>
            <a:xfrm>
              <a:off x="3903349" y="3869829"/>
              <a:ext cx="274320" cy="2743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8925BB7-B630-981C-964B-37A5DCBEA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79624" y="4766310"/>
            <a:ext cx="17145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B4D24B0-E841-7B76-D133-06ABBAB6B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5518" y="4767263"/>
            <a:ext cx="3429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7D011F5-A799-BEAA-9160-5743D58B45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25271" y="4764882"/>
            <a:ext cx="82296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431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7104">
          <p15:clr>
            <a:srgbClr val="FBAE40"/>
          </p15:clr>
        </p15:guide>
        <p15:guide id="3" pos="73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userDrawn="1">
  <p:cSld name="Title Content and 2 Content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2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29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2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2"/>
          <p:cNvSpPr txBox="1">
            <a:spLocks noGrp="1"/>
          </p:cNvSpPr>
          <p:nvPr>
            <p:ph type="body" idx="3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1635DF2F-446A-469B-981D-055C63AF5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25271" y="495269"/>
            <a:ext cx="4946076" cy="4152963"/>
          </a:xfrm>
        </p:spPr>
        <p:txBody>
          <a:bodyPr anchor="ctr">
            <a:normAutofit/>
          </a:bodyPr>
          <a:lstStyle>
            <a:lvl1pPr algn="l">
              <a:defRPr sz="36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A461CB72-9777-50F4-94EC-91A4EE864A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rot="10800000">
            <a:off x="1" y="570991"/>
            <a:ext cx="3057089" cy="4572509"/>
          </a:xfrm>
          <a:custGeom>
            <a:avLst/>
            <a:gdLst>
              <a:gd name="connsiteX0" fmla="*/ 0 w 4076118"/>
              <a:gd name="connsiteY0" fmla="*/ 0 h 6096678"/>
              <a:gd name="connsiteX1" fmla="*/ 4076118 w 4076118"/>
              <a:gd name="connsiteY1" fmla="*/ 0 h 6096678"/>
              <a:gd name="connsiteX2" fmla="*/ 4076118 w 4076118"/>
              <a:gd name="connsiteY2" fmla="*/ 2038351 h 6096678"/>
              <a:gd name="connsiteX3" fmla="*/ 4076118 w 4076118"/>
              <a:gd name="connsiteY3" fmla="*/ 2048256 h 6096678"/>
              <a:gd name="connsiteX4" fmla="*/ 4076118 w 4076118"/>
              <a:gd name="connsiteY4" fmla="*/ 6096678 h 6096678"/>
              <a:gd name="connsiteX5" fmla="*/ 27696 w 4076118"/>
              <a:gd name="connsiteY5" fmla="*/ 2048256 h 6096678"/>
              <a:gd name="connsiteX6" fmla="*/ 0 w 4076118"/>
              <a:gd name="connsiteY6" fmla="*/ 2048256 h 609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6118" h="6096678">
                <a:moveTo>
                  <a:pt x="0" y="0"/>
                </a:moveTo>
                <a:lnTo>
                  <a:pt x="4076118" y="0"/>
                </a:lnTo>
                <a:lnTo>
                  <a:pt x="4076118" y="2038351"/>
                </a:lnTo>
                <a:lnTo>
                  <a:pt x="4076118" y="2048256"/>
                </a:lnTo>
                <a:lnTo>
                  <a:pt x="4076118" y="6096678"/>
                </a:lnTo>
                <a:lnTo>
                  <a:pt x="27696" y="2048256"/>
                </a:lnTo>
                <a:lnTo>
                  <a:pt x="0" y="2048256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insert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1EA6F58-FA46-C921-5758-59234B148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0"/>
            <a:ext cx="3052079" cy="3621625"/>
            <a:chOff x="0" y="0"/>
            <a:chExt cx="4069439" cy="482883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6F989FA-6E7A-3A98-AF95-F2384308BD32}"/>
                </a:ext>
              </a:extLst>
            </p:cNvPr>
            <p:cNvSpPr>
              <a:spLocks/>
            </p:cNvSpPr>
            <p:nvPr userDrawn="1"/>
          </p:nvSpPr>
          <p:spPr>
            <a:xfrm rot="10800000" flipH="1">
              <a:off x="2026630" y="776431"/>
              <a:ext cx="2032942" cy="202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8" name="Rectangle 23">
              <a:extLst>
                <a:ext uri="{FF2B5EF4-FFF2-40B4-BE49-F238E27FC236}">
                  <a16:creationId xmlns:a16="http://schemas.microsoft.com/office/drawing/2014/main" id="{F0BAC8B3-F184-675F-DC5F-C48CE69D7622}"/>
                </a:ext>
              </a:extLst>
            </p:cNvPr>
            <p:cNvSpPr/>
            <p:nvPr userDrawn="1"/>
          </p:nvSpPr>
          <p:spPr>
            <a:xfrm rot="10800000">
              <a:off x="0" y="766136"/>
              <a:ext cx="2029968" cy="2029968"/>
            </a:xfrm>
            <a:custGeom>
              <a:avLst/>
              <a:gdLst>
                <a:gd name="connsiteX0" fmla="*/ 0 w 2029968"/>
                <a:gd name="connsiteY0" fmla="*/ 0 h 2029968"/>
                <a:gd name="connsiteX1" fmla="*/ 2029968 w 2029968"/>
                <a:gd name="connsiteY1" fmla="*/ 0 h 2029968"/>
                <a:gd name="connsiteX2" fmla="*/ 2029968 w 2029968"/>
                <a:gd name="connsiteY2" fmla="*/ 2029968 h 2029968"/>
                <a:gd name="connsiteX3" fmla="*/ 0 w 2029968"/>
                <a:gd name="connsiteY3" fmla="*/ 2029968 h 2029968"/>
                <a:gd name="connsiteX4" fmla="*/ 0 w 2029968"/>
                <a:gd name="connsiteY4" fmla="*/ 0 h 2029968"/>
                <a:gd name="connsiteX0" fmla="*/ 0 w 2029968"/>
                <a:gd name="connsiteY0" fmla="*/ 0 h 2029968"/>
                <a:gd name="connsiteX1" fmla="*/ 2029968 w 2029968"/>
                <a:gd name="connsiteY1" fmla="*/ 2029968 h 2029968"/>
                <a:gd name="connsiteX2" fmla="*/ 0 w 2029968"/>
                <a:gd name="connsiteY2" fmla="*/ 2029968 h 2029968"/>
                <a:gd name="connsiteX3" fmla="*/ 0 w 2029968"/>
                <a:gd name="connsiteY3" fmla="*/ 0 h 20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9968" h="2029968">
                  <a:moveTo>
                    <a:pt x="0" y="0"/>
                  </a:moveTo>
                  <a:lnTo>
                    <a:pt x="2029968" y="2029968"/>
                  </a:lnTo>
                  <a:lnTo>
                    <a:pt x="0" y="2029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0B75A35-885A-CE38-4F65-95EF186B13D1}"/>
                </a:ext>
              </a:extLst>
            </p:cNvPr>
            <p:cNvSpPr/>
            <p:nvPr userDrawn="1"/>
          </p:nvSpPr>
          <p:spPr>
            <a:xfrm rot="10800000">
              <a:off x="1351" y="0"/>
              <a:ext cx="2029968" cy="7749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B488086-4998-410C-FCC8-29CA6288A7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039471" y="2798865"/>
              <a:ext cx="2029968" cy="2029968"/>
            </a:xfrm>
            <a:prstGeom prst="rect">
              <a:avLst/>
            </a:prstGeom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6879019-2911-2F60-CC5B-25D1BE752B8D}"/>
                </a:ext>
              </a:extLst>
            </p:cNvPr>
            <p:cNvSpPr/>
            <p:nvPr userDrawn="1"/>
          </p:nvSpPr>
          <p:spPr>
            <a:xfrm rot="10800000">
              <a:off x="2029604" y="0"/>
              <a:ext cx="2029968" cy="7845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1" name="Picture 10" descr="A black and white striped pattern&#10;&#10;Description automatically generated with low confidence">
              <a:extLst>
                <a:ext uri="{FF2B5EF4-FFF2-40B4-BE49-F238E27FC236}">
                  <a16:creationId xmlns:a16="http://schemas.microsoft.com/office/drawing/2014/main" id="{CD1CD1B2-7EBC-96B6-A02D-7972C27874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2035948" y="788197"/>
              <a:ext cx="2019299" cy="999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937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240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729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25271" y="408214"/>
            <a:ext cx="4946076" cy="2583997"/>
          </a:xfrm>
        </p:spPr>
        <p:txBody>
          <a:bodyPr anchor="b">
            <a:normAutofit/>
          </a:bodyPr>
          <a:lstStyle>
            <a:lvl1pPr algn="l">
              <a:defRPr sz="36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32955-BB06-40DE-A14A-2170FD41AD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22342" y="3097534"/>
            <a:ext cx="4946076" cy="1463642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2A24CB0-5164-75CE-ED27-EF876C19C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521876"/>
            <a:ext cx="3052079" cy="3621625"/>
            <a:chOff x="0" y="2029167"/>
            <a:chExt cx="4069439" cy="482883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6F989FA-6E7A-3A98-AF95-F2384308BD32}"/>
                </a:ext>
              </a:extLst>
            </p:cNvPr>
            <p:cNvSpPr/>
            <p:nvPr userDrawn="1"/>
          </p:nvSpPr>
          <p:spPr>
            <a:xfrm flipH="1">
              <a:off x="9867" y="4051601"/>
              <a:ext cx="2032942" cy="202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8" name="Rectangle 23">
              <a:extLst>
                <a:ext uri="{FF2B5EF4-FFF2-40B4-BE49-F238E27FC236}">
                  <a16:creationId xmlns:a16="http://schemas.microsoft.com/office/drawing/2014/main" id="{F0BAC8B3-F184-675F-DC5F-C48CE69D7622}"/>
                </a:ext>
              </a:extLst>
            </p:cNvPr>
            <p:cNvSpPr/>
            <p:nvPr userDrawn="1"/>
          </p:nvSpPr>
          <p:spPr>
            <a:xfrm>
              <a:off x="2039471" y="4061896"/>
              <a:ext cx="2029968" cy="2029968"/>
            </a:xfrm>
            <a:custGeom>
              <a:avLst/>
              <a:gdLst>
                <a:gd name="connsiteX0" fmla="*/ 0 w 2029968"/>
                <a:gd name="connsiteY0" fmla="*/ 0 h 2029968"/>
                <a:gd name="connsiteX1" fmla="*/ 2029968 w 2029968"/>
                <a:gd name="connsiteY1" fmla="*/ 0 h 2029968"/>
                <a:gd name="connsiteX2" fmla="*/ 2029968 w 2029968"/>
                <a:gd name="connsiteY2" fmla="*/ 2029968 h 2029968"/>
                <a:gd name="connsiteX3" fmla="*/ 0 w 2029968"/>
                <a:gd name="connsiteY3" fmla="*/ 2029968 h 2029968"/>
                <a:gd name="connsiteX4" fmla="*/ 0 w 2029968"/>
                <a:gd name="connsiteY4" fmla="*/ 0 h 2029968"/>
                <a:gd name="connsiteX0" fmla="*/ 0 w 2029968"/>
                <a:gd name="connsiteY0" fmla="*/ 0 h 2029968"/>
                <a:gd name="connsiteX1" fmla="*/ 2029968 w 2029968"/>
                <a:gd name="connsiteY1" fmla="*/ 2029968 h 2029968"/>
                <a:gd name="connsiteX2" fmla="*/ 0 w 2029968"/>
                <a:gd name="connsiteY2" fmla="*/ 2029968 h 2029968"/>
                <a:gd name="connsiteX3" fmla="*/ 0 w 2029968"/>
                <a:gd name="connsiteY3" fmla="*/ 0 h 20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9968" h="2029968">
                  <a:moveTo>
                    <a:pt x="0" y="0"/>
                  </a:moveTo>
                  <a:lnTo>
                    <a:pt x="2029968" y="2029968"/>
                  </a:lnTo>
                  <a:lnTo>
                    <a:pt x="0" y="2029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0B75A35-885A-CE38-4F65-95EF186B13D1}"/>
                </a:ext>
              </a:extLst>
            </p:cNvPr>
            <p:cNvSpPr/>
            <p:nvPr userDrawn="1"/>
          </p:nvSpPr>
          <p:spPr>
            <a:xfrm>
              <a:off x="2038120" y="6083058"/>
              <a:ext cx="2029968" cy="7749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B488086-4998-410C-FCC8-29CA6288A7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0" y="2029167"/>
              <a:ext cx="2029968" cy="2029968"/>
            </a:xfrm>
            <a:prstGeom prst="rect">
              <a:avLst/>
            </a:prstGeom>
          </p:spPr>
        </p:pic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27BDAED-0D36-04AE-1A0C-E36977943C38}"/>
                </a:ext>
              </a:extLst>
            </p:cNvPr>
            <p:cNvGrpSpPr/>
            <p:nvPr userDrawn="1"/>
          </p:nvGrpSpPr>
          <p:grpSpPr>
            <a:xfrm>
              <a:off x="110109" y="4130046"/>
              <a:ext cx="1920240" cy="1920240"/>
              <a:chOff x="5361924" y="7472790"/>
              <a:chExt cx="1828800" cy="18288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CF3798F-8E8C-7928-8347-8BC5B07B29F9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A488BF7D-B7D9-249A-4EC2-8A1F6311D1BD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29" name="Group 28">
                    <a:extLst>
                      <a:ext uri="{FF2B5EF4-FFF2-40B4-BE49-F238E27FC236}">
                        <a16:creationId xmlns:a16="http://schemas.microsoft.com/office/drawing/2014/main" id="{C68EE8A4-53F3-EAAD-F43C-1F73C11BCE4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31" name="Group 30">
                      <a:extLst>
                        <a:ext uri="{FF2B5EF4-FFF2-40B4-BE49-F238E27FC236}">
                          <a16:creationId xmlns:a16="http://schemas.microsoft.com/office/drawing/2014/main" id="{806ABFB8-B814-19D4-3D47-A20F5AE8785F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33" name="Group 32">
                        <a:extLst>
                          <a:ext uri="{FF2B5EF4-FFF2-40B4-BE49-F238E27FC236}">
                            <a16:creationId xmlns:a16="http://schemas.microsoft.com/office/drawing/2014/main" id="{992340A8-8A61-1791-D56D-37F56A662FEC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35" name="Group 34">
                          <a:extLst>
                            <a:ext uri="{FF2B5EF4-FFF2-40B4-BE49-F238E27FC236}">
                              <a16:creationId xmlns:a16="http://schemas.microsoft.com/office/drawing/2014/main" id="{CD482B6F-4CF8-CEB3-7478-EB1A76DCF567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37" name="Group 36">
                            <a:extLst>
                              <a:ext uri="{FF2B5EF4-FFF2-40B4-BE49-F238E27FC236}">
                                <a16:creationId xmlns:a16="http://schemas.microsoft.com/office/drawing/2014/main" id="{48DB94FE-59B9-2EAD-D619-84D732CEACD3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39" name="Oval 38">
                              <a:extLst>
                                <a:ext uri="{FF2B5EF4-FFF2-40B4-BE49-F238E27FC236}">
                                  <a16:creationId xmlns:a16="http://schemas.microsoft.com/office/drawing/2014/main" id="{E9EB6EED-2663-2442-C484-EF27395DCEBC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40" name="Oval 39">
                              <a:extLst>
                                <a:ext uri="{FF2B5EF4-FFF2-40B4-BE49-F238E27FC236}">
                                  <a16:creationId xmlns:a16="http://schemas.microsoft.com/office/drawing/2014/main" id="{E5978766-DE51-5FF5-41BE-B1007C37165E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38" name="Oval 37">
                            <a:extLst>
                              <a:ext uri="{FF2B5EF4-FFF2-40B4-BE49-F238E27FC236}">
                                <a16:creationId xmlns:a16="http://schemas.microsoft.com/office/drawing/2014/main" id="{749B68DA-C119-6301-085A-2E7F3F7E3CB1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36" name="Oval 35">
                          <a:extLst>
                            <a:ext uri="{FF2B5EF4-FFF2-40B4-BE49-F238E27FC236}">
                              <a16:creationId xmlns:a16="http://schemas.microsoft.com/office/drawing/2014/main" id="{D753957E-F4A5-E4CA-B8B3-F6AE73F159FA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34" name="Oval 33">
                        <a:extLst>
                          <a:ext uri="{FF2B5EF4-FFF2-40B4-BE49-F238E27FC236}">
                            <a16:creationId xmlns:a16="http://schemas.microsoft.com/office/drawing/2014/main" id="{3C4F46AE-42C2-9E3D-D294-F9297389D110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32" name="Oval 31">
                      <a:extLst>
                        <a:ext uri="{FF2B5EF4-FFF2-40B4-BE49-F238E27FC236}">
                          <a16:creationId xmlns:a16="http://schemas.microsoft.com/office/drawing/2014/main" id="{42376F25-4466-0F15-CD2F-B821AC9CCE5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30" name="Oval 29">
                    <a:extLst>
                      <a:ext uri="{FF2B5EF4-FFF2-40B4-BE49-F238E27FC236}">
                        <a16:creationId xmlns:a16="http://schemas.microsoft.com/office/drawing/2014/main" id="{BBC988D2-4FFC-612A-DD91-A41B6194EF6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53690E8A-1D3D-3D5D-932E-D2A2CFE5BDAB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AE08D7C-4190-C00C-19F0-BEC1F608B97A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7B3E9873-3672-0001-60F1-6068B67A6DFE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4CD85BCE-3B9E-234C-4D1D-EC1A6A57D298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CC66A2F-CBBE-220E-5ECB-528B8EE34F83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7B0A7FC-B497-31A6-1F93-414F96AF4C47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6879019-2911-2F60-CC5B-25D1BE752B8D}"/>
                </a:ext>
              </a:extLst>
            </p:cNvPr>
            <p:cNvSpPr/>
            <p:nvPr userDrawn="1"/>
          </p:nvSpPr>
          <p:spPr>
            <a:xfrm>
              <a:off x="9867" y="6073440"/>
              <a:ext cx="2029968" cy="784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CCEA94B-F499-5FCA-D063-7FD71F10F95B}"/>
                </a:ext>
              </a:extLst>
            </p:cNvPr>
            <p:cNvSpPr/>
            <p:nvPr userDrawn="1"/>
          </p:nvSpPr>
          <p:spPr>
            <a:xfrm>
              <a:off x="9867" y="4051601"/>
              <a:ext cx="1014984" cy="2029968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A461CB72-9777-50F4-94EC-91A4EE864A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3057089" cy="4572509"/>
          </a:xfrm>
          <a:custGeom>
            <a:avLst/>
            <a:gdLst>
              <a:gd name="connsiteX0" fmla="*/ 0 w 4076118"/>
              <a:gd name="connsiteY0" fmla="*/ 0 h 6096678"/>
              <a:gd name="connsiteX1" fmla="*/ 4076118 w 4076118"/>
              <a:gd name="connsiteY1" fmla="*/ 0 h 6096678"/>
              <a:gd name="connsiteX2" fmla="*/ 4076118 w 4076118"/>
              <a:gd name="connsiteY2" fmla="*/ 2038351 h 6096678"/>
              <a:gd name="connsiteX3" fmla="*/ 4076118 w 4076118"/>
              <a:gd name="connsiteY3" fmla="*/ 2048256 h 6096678"/>
              <a:gd name="connsiteX4" fmla="*/ 4076118 w 4076118"/>
              <a:gd name="connsiteY4" fmla="*/ 6096678 h 6096678"/>
              <a:gd name="connsiteX5" fmla="*/ 27696 w 4076118"/>
              <a:gd name="connsiteY5" fmla="*/ 2048256 h 6096678"/>
              <a:gd name="connsiteX6" fmla="*/ 0 w 4076118"/>
              <a:gd name="connsiteY6" fmla="*/ 2048256 h 609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6118" h="6096678">
                <a:moveTo>
                  <a:pt x="0" y="0"/>
                </a:moveTo>
                <a:lnTo>
                  <a:pt x="4076118" y="0"/>
                </a:lnTo>
                <a:lnTo>
                  <a:pt x="4076118" y="2038351"/>
                </a:lnTo>
                <a:lnTo>
                  <a:pt x="4076118" y="2048256"/>
                </a:lnTo>
                <a:lnTo>
                  <a:pt x="4076118" y="6096678"/>
                </a:lnTo>
                <a:lnTo>
                  <a:pt x="27696" y="2048256"/>
                </a:lnTo>
                <a:lnTo>
                  <a:pt x="0" y="2048256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6856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240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72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72084"/>
            <a:ext cx="4941863" cy="1491530"/>
          </a:xfrm>
        </p:spPr>
        <p:txBody>
          <a:bodyPr anchor="t" anchorCtr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8EF03D4-C3B7-918C-FF43-0A9C106ACA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095608" y="-6858"/>
            <a:ext cx="3051821" cy="5150358"/>
            <a:chOff x="8127476" y="-9144"/>
            <a:chExt cx="4069095" cy="686714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ADCD25-4CC2-4A9A-B033-132F3DA6D2F5}"/>
                </a:ext>
              </a:extLst>
            </p:cNvPr>
            <p:cNvSpPr/>
            <p:nvPr userDrawn="1"/>
          </p:nvSpPr>
          <p:spPr>
            <a:xfrm>
              <a:off x="10162032" y="2014436"/>
              <a:ext cx="2029968" cy="20299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3" name="Rectangle 23">
              <a:extLst>
                <a:ext uri="{FF2B5EF4-FFF2-40B4-BE49-F238E27FC236}">
                  <a16:creationId xmlns:a16="http://schemas.microsoft.com/office/drawing/2014/main" id="{D2F68DA8-1D58-42B0-A2C9-046E92884BC1}"/>
                </a:ext>
              </a:extLst>
            </p:cNvPr>
            <p:cNvSpPr/>
            <p:nvPr userDrawn="1"/>
          </p:nvSpPr>
          <p:spPr>
            <a:xfrm rot="5400000">
              <a:off x="10160492" y="2024569"/>
              <a:ext cx="2029968" cy="2029968"/>
            </a:xfrm>
            <a:custGeom>
              <a:avLst/>
              <a:gdLst>
                <a:gd name="connsiteX0" fmla="*/ 0 w 2029968"/>
                <a:gd name="connsiteY0" fmla="*/ 0 h 2029968"/>
                <a:gd name="connsiteX1" fmla="*/ 2029968 w 2029968"/>
                <a:gd name="connsiteY1" fmla="*/ 0 h 2029968"/>
                <a:gd name="connsiteX2" fmla="*/ 2029968 w 2029968"/>
                <a:gd name="connsiteY2" fmla="*/ 2029968 h 2029968"/>
                <a:gd name="connsiteX3" fmla="*/ 0 w 2029968"/>
                <a:gd name="connsiteY3" fmla="*/ 2029968 h 2029968"/>
                <a:gd name="connsiteX4" fmla="*/ 0 w 2029968"/>
                <a:gd name="connsiteY4" fmla="*/ 0 h 2029968"/>
                <a:gd name="connsiteX0" fmla="*/ 0 w 2029968"/>
                <a:gd name="connsiteY0" fmla="*/ 0 h 2029968"/>
                <a:gd name="connsiteX1" fmla="*/ 2029968 w 2029968"/>
                <a:gd name="connsiteY1" fmla="*/ 2029968 h 2029968"/>
                <a:gd name="connsiteX2" fmla="*/ 0 w 2029968"/>
                <a:gd name="connsiteY2" fmla="*/ 2029968 h 2029968"/>
                <a:gd name="connsiteX3" fmla="*/ 0 w 2029968"/>
                <a:gd name="connsiteY3" fmla="*/ 0 h 20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9968" h="2029968">
                  <a:moveTo>
                    <a:pt x="0" y="0"/>
                  </a:moveTo>
                  <a:lnTo>
                    <a:pt x="2029968" y="2029968"/>
                  </a:lnTo>
                  <a:lnTo>
                    <a:pt x="0" y="2029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DB232A4-4F4E-48E9-9E61-BE51F716635C}"/>
                </a:ext>
              </a:extLst>
            </p:cNvPr>
            <p:cNvSpPr/>
            <p:nvPr userDrawn="1"/>
          </p:nvSpPr>
          <p:spPr>
            <a:xfrm>
              <a:off x="10162032" y="0"/>
              <a:ext cx="2029968" cy="202996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CB66576-218C-4236-B125-DD7B03A784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10162032" y="0"/>
              <a:ext cx="2029968" cy="2029968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557D1F3-8C55-47FE-B39A-86D30F8FFEA1}"/>
                </a:ext>
              </a:extLst>
            </p:cNvPr>
            <p:cNvSpPr/>
            <p:nvPr userDrawn="1"/>
          </p:nvSpPr>
          <p:spPr>
            <a:xfrm>
              <a:off x="8139364" y="-7084"/>
              <a:ext cx="2029968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4EB6F2E-2621-4EB5-A04D-906FD08CED87}"/>
                </a:ext>
              </a:extLst>
            </p:cNvPr>
            <p:cNvSpPr/>
            <p:nvPr userDrawn="1"/>
          </p:nvSpPr>
          <p:spPr>
            <a:xfrm flipH="1">
              <a:off x="8127476" y="4807776"/>
              <a:ext cx="2032942" cy="202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CC28908-2548-441C-BE9D-8728E1FC84C0}"/>
                </a:ext>
              </a:extLst>
            </p:cNvPr>
            <p:cNvSpPr/>
            <p:nvPr userDrawn="1"/>
          </p:nvSpPr>
          <p:spPr>
            <a:xfrm>
              <a:off x="10160492" y="4041539"/>
              <a:ext cx="2029968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35" name="Picture 34" descr="A black and white striped pattern&#10;&#10;Description automatically generated with low confidence">
              <a:extLst>
                <a:ext uri="{FF2B5EF4-FFF2-40B4-BE49-F238E27FC236}">
                  <a16:creationId xmlns:a16="http://schemas.microsoft.com/office/drawing/2014/main" id="{731DC170-FB16-45F8-B62C-DCAB2B9AC3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7272" y="5079562"/>
              <a:ext cx="2019299" cy="999451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6529D2A7-ABB3-4E2D-88CA-F813997011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>
              <a:off x="8139640" y="-9144"/>
              <a:ext cx="2029968" cy="2029968"/>
            </a:xfrm>
            <a:prstGeom prst="rect">
              <a:avLst/>
            </a:prstGeom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DB6750E-735F-4906-8BCA-E0BD4F029617}"/>
                </a:ext>
              </a:extLst>
            </p:cNvPr>
            <p:cNvSpPr/>
            <p:nvPr userDrawn="1"/>
          </p:nvSpPr>
          <p:spPr>
            <a:xfrm>
              <a:off x="10158984" y="6016751"/>
              <a:ext cx="2029968" cy="8412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51ECE99-ACA6-46AF-98D5-81FBD3F834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131156" y="4828032"/>
              <a:ext cx="2029968" cy="2029968"/>
            </a:xfrm>
            <a:prstGeom prst="rect">
              <a:avLst/>
            </a:prstGeom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A847BA4-24DF-47BE-BE28-02415C2A2D3C}"/>
                </a:ext>
              </a:extLst>
            </p:cNvPr>
            <p:cNvGrpSpPr/>
            <p:nvPr userDrawn="1"/>
          </p:nvGrpSpPr>
          <p:grpSpPr>
            <a:xfrm>
              <a:off x="8227718" y="2092719"/>
              <a:ext cx="1920240" cy="1920240"/>
              <a:chOff x="5361924" y="7472790"/>
              <a:chExt cx="1828800" cy="1828800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882CC485-8A14-4767-80E8-8FB0A9991D20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E119FAB2-4AF3-4EC9-98C6-E69760D02810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E2A21525-E952-4F39-A9B2-2CA7C5B14B8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51" name="Group 50">
                      <a:extLst>
                        <a:ext uri="{FF2B5EF4-FFF2-40B4-BE49-F238E27FC236}">
                          <a16:creationId xmlns:a16="http://schemas.microsoft.com/office/drawing/2014/main" id="{53BFFD34-0142-4185-8790-1D792CB2F5DD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53" name="Group 52">
                        <a:extLst>
                          <a:ext uri="{FF2B5EF4-FFF2-40B4-BE49-F238E27FC236}">
                            <a16:creationId xmlns:a16="http://schemas.microsoft.com/office/drawing/2014/main" id="{00D3FC75-8C07-4B5B-A025-3CCC5DC458DA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55" name="Group 54">
                          <a:extLst>
                            <a:ext uri="{FF2B5EF4-FFF2-40B4-BE49-F238E27FC236}">
                              <a16:creationId xmlns:a16="http://schemas.microsoft.com/office/drawing/2014/main" id="{393D2F91-0E6A-4541-843C-1FC0CC2A024A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57" name="Group 56">
                            <a:extLst>
                              <a:ext uri="{FF2B5EF4-FFF2-40B4-BE49-F238E27FC236}">
                                <a16:creationId xmlns:a16="http://schemas.microsoft.com/office/drawing/2014/main" id="{7C9F80E2-6A88-44DC-B048-7178CAA61DAF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59" name="Oval 58">
                              <a:extLst>
                                <a:ext uri="{FF2B5EF4-FFF2-40B4-BE49-F238E27FC236}">
                                  <a16:creationId xmlns:a16="http://schemas.microsoft.com/office/drawing/2014/main" id="{1D9D5420-70BE-477D-A17F-A86F19AD3FAC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60" name="Oval 59">
                              <a:extLst>
                                <a:ext uri="{FF2B5EF4-FFF2-40B4-BE49-F238E27FC236}">
                                  <a16:creationId xmlns:a16="http://schemas.microsoft.com/office/drawing/2014/main" id="{0BBACECF-9AE7-40B5-90D0-AE2CF1FBE0BD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58" name="Oval 57">
                            <a:extLst>
                              <a:ext uri="{FF2B5EF4-FFF2-40B4-BE49-F238E27FC236}">
                                <a16:creationId xmlns:a16="http://schemas.microsoft.com/office/drawing/2014/main" id="{1A76BEA0-888E-41CD-9B30-B128A39F781E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56" name="Oval 55">
                          <a:extLst>
                            <a:ext uri="{FF2B5EF4-FFF2-40B4-BE49-F238E27FC236}">
                              <a16:creationId xmlns:a16="http://schemas.microsoft.com/office/drawing/2014/main" id="{2EA36045-2F1D-402B-A951-B9957D5C145A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54" name="Oval 53">
                        <a:extLst>
                          <a:ext uri="{FF2B5EF4-FFF2-40B4-BE49-F238E27FC236}">
                            <a16:creationId xmlns:a16="http://schemas.microsoft.com/office/drawing/2014/main" id="{AAF58CB3-363E-4156-8148-52E0B9CB634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52" name="Oval 51">
                      <a:extLst>
                        <a:ext uri="{FF2B5EF4-FFF2-40B4-BE49-F238E27FC236}">
                          <a16:creationId xmlns:a16="http://schemas.microsoft.com/office/drawing/2014/main" id="{BDC4E05B-A602-483A-B19B-B907358D462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55AC54D8-2C27-49A7-B1CE-C865E62949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C9753262-9BA1-4716-B4B5-AAFE232A72A2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5B2AD932-98DF-4DA1-B19E-E38A4DD270F0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DE13C879-BB42-4F2C-9413-A1322DE58809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28B4D2F2-9DD5-4B23-A2F2-7DBEE9E61F6C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C1A2F663-A8A7-4337-9C39-489B4C457111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609761D-150A-4DE0-9604-CC3953C108D0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1189D1C-85ED-4EF1-A384-7C4590ED50FD}"/>
                </a:ext>
              </a:extLst>
            </p:cNvPr>
            <p:cNvSpPr/>
            <p:nvPr userDrawn="1"/>
          </p:nvSpPr>
          <p:spPr>
            <a:xfrm>
              <a:off x="8138160" y="4045868"/>
              <a:ext cx="2029968" cy="82296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5306C5-E470-4A93-9C9F-5D066F760D16}"/>
                </a:ext>
              </a:extLst>
            </p:cNvPr>
            <p:cNvSpPr/>
            <p:nvPr userDrawn="1"/>
          </p:nvSpPr>
          <p:spPr>
            <a:xfrm>
              <a:off x="8138160" y="2029968"/>
              <a:ext cx="1014984" cy="2011680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B31C374B-40F2-4B1E-A9D8-6E5C932FF1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138160" y="2012062"/>
              <a:ext cx="3044952" cy="7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C668341-39BE-4448-B29D-2594AE6D75C2}"/>
                </a:ext>
              </a:extLst>
            </p:cNvPr>
            <p:cNvSpPr/>
            <p:nvPr userDrawn="1"/>
          </p:nvSpPr>
          <p:spPr>
            <a:xfrm>
              <a:off x="11055096" y="1874902"/>
              <a:ext cx="274320" cy="27432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7" name="Date Placeholder 3">
            <a:extLst>
              <a:ext uri="{FF2B5EF4-FFF2-40B4-BE49-F238E27FC236}">
                <a16:creationId xmlns:a16="http://schemas.microsoft.com/office/drawing/2014/main" id="{56895315-7883-40AA-AB6E-E7F8B77E5B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0971" y="4766310"/>
            <a:ext cx="82296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68" name="Footer Placeholder 4">
            <a:extLst>
              <a:ext uri="{FF2B5EF4-FFF2-40B4-BE49-F238E27FC236}">
                <a16:creationId xmlns:a16="http://schemas.microsoft.com/office/drawing/2014/main" id="{0000A4E2-8200-4049-B783-2C99FBDBA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24915" y="4766310"/>
            <a:ext cx="17145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9" name="Slide Number Placeholder 5">
            <a:extLst>
              <a:ext uri="{FF2B5EF4-FFF2-40B4-BE49-F238E27FC236}">
                <a16:creationId xmlns:a16="http://schemas.microsoft.com/office/drawing/2014/main" id="{179E1CD1-EB8F-4E56-ADD5-06293A7A2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55568" y="4766310"/>
            <a:ext cx="3429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BB414F1-8F08-3A3B-45E3-9F44595164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1501" y="2294164"/>
            <a:ext cx="4948029" cy="2472146"/>
          </a:xfrm>
        </p:spPr>
        <p:txBody>
          <a:bodyPr>
            <a:normAutofit/>
          </a:bodyPr>
          <a:lstStyle>
            <a:lvl1pPr marL="0" indent="0">
              <a:lnSpc>
                <a:spcPts val="1500"/>
              </a:lnSpc>
              <a:buFont typeface="Arial" panose="020B0604020202020204" pitchFamily="34" charset="0"/>
              <a:buNone/>
              <a:defRPr sz="1350">
                <a:solidFill>
                  <a:schemeClr val="bg1"/>
                </a:solidFill>
              </a:defRPr>
            </a:lvl1pPr>
            <a:lvl2pPr marL="342900">
              <a:lnSpc>
                <a:spcPts val="1500"/>
              </a:lnSpc>
              <a:defRPr sz="1350">
                <a:solidFill>
                  <a:schemeClr val="bg1"/>
                </a:solidFill>
              </a:defRPr>
            </a:lvl2pPr>
            <a:lvl3pPr marL="685800">
              <a:lnSpc>
                <a:spcPts val="1500"/>
              </a:lnSpc>
              <a:defRPr sz="1350">
                <a:solidFill>
                  <a:schemeClr val="bg1"/>
                </a:solidFill>
              </a:defRPr>
            </a:lvl3pPr>
            <a:lvl4pPr marL="1028700">
              <a:lnSpc>
                <a:spcPts val="1500"/>
              </a:lnSpc>
              <a:defRPr sz="1350">
                <a:solidFill>
                  <a:schemeClr val="bg1"/>
                </a:solidFill>
              </a:defRPr>
            </a:lvl4pPr>
            <a:lvl5pPr marL="1371600">
              <a:lnSpc>
                <a:spcPts val="1500"/>
              </a:lnSpc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98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7104">
          <p15:clr>
            <a:srgbClr val="FBAE40"/>
          </p15:clr>
        </p15:guide>
        <p15:guide id="3" pos="7392">
          <p15:clr>
            <a:srgbClr val="FBAE40"/>
          </p15:clr>
        </p15:guide>
        <p15:guide id="4" pos="57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F09F422-89F7-BDA7-7801-F364BA5D95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284" y="-3227"/>
            <a:ext cx="5439443" cy="5147010"/>
            <a:chOff x="-3045" y="-4303"/>
            <a:chExt cx="7252590" cy="686268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629CA98-D89C-4A69-9A55-8D6C17DCDDF0}"/>
                </a:ext>
              </a:extLst>
            </p:cNvPr>
            <p:cNvSpPr/>
            <p:nvPr userDrawn="1"/>
          </p:nvSpPr>
          <p:spPr>
            <a:xfrm>
              <a:off x="-1146" y="4775407"/>
              <a:ext cx="2029968" cy="207752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12C5F573-21FC-4A6F-B46F-5583E20C99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-3045" y="-4303"/>
              <a:ext cx="2029968" cy="2029968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A65556A-38A5-4BA5-9A40-33F02F960B1E}"/>
                </a:ext>
              </a:extLst>
            </p:cNvPr>
            <p:cNvSpPr/>
            <p:nvPr userDrawn="1"/>
          </p:nvSpPr>
          <p:spPr>
            <a:xfrm>
              <a:off x="3757" y="2033993"/>
              <a:ext cx="2029968" cy="20299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7900790-71B8-45C8-9B6D-07E23CEA7632}"/>
                </a:ext>
              </a:extLst>
            </p:cNvPr>
            <p:cNvSpPr/>
            <p:nvPr userDrawn="1"/>
          </p:nvSpPr>
          <p:spPr>
            <a:xfrm>
              <a:off x="-218" y="4059798"/>
              <a:ext cx="2029968" cy="759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28AC969-4FA2-44AD-A273-2A0B7839749F}"/>
                </a:ext>
              </a:extLst>
            </p:cNvPr>
            <p:cNvSpPr/>
            <p:nvPr userDrawn="1"/>
          </p:nvSpPr>
          <p:spPr>
            <a:xfrm>
              <a:off x="4071442" y="4058828"/>
              <a:ext cx="3178103" cy="2799549"/>
            </a:xfrm>
            <a:custGeom>
              <a:avLst/>
              <a:gdLst>
                <a:gd name="connsiteX0" fmla="*/ 0 w 2029968"/>
                <a:gd name="connsiteY0" fmla="*/ 0 h 2029968"/>
                <a:gd name="connsiteX1" fmla="*/ 2029968 w 2029968"/>
                <a:gd name="connsiteY1" fmla="*/ 0 h 2029968"/>
                <a:gd name="connsiteX2" fmla="*/ 2029968 w 2029968"/>
                <a:gd name="connsiteY2" fmla="*/ 2029968 h 2029968"/>
                <a:gd name="connsiteX3" fmla="*/ 0 w 2029968"/>
                <a:gd name="connsiteY3" fmla="*/ 2029968 h 2029968"/>
                <a:gd name="connsiteX4" fmla="*/ 0 w 2029968"/>
                <a:gd name="connsiteY4" fmla="*/ 0 h 2029968"/>
                <a:gd name="connsiteX0" fmla="*/ 0 w 2029968"/>
                <a:gd name="connsiteY0" fmla="*/ 0 h 2029968"/>
                <a:gd name="connsiteX1" fmla="*/ 2029968 w 2029968"/>
                <a:gd name="connsiteY1" fmla="*/ 2029968 h 2029968"/>
                <a:gd name="connsiteX2" fmla="*/ 0 w 2029968"/>
                <a:gd name="connsiteY2" fmla="*/ 2029968 h 2029968"/>
                <a:gd name="connsiteX3" fmla="*/ 0 w 2029968"/>
                <a:gd name="connsiteY3" fmla="*/ 0 h 202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9968" h="2029968">
                  <a:moveTo>
                    <a:pt x="0" y="0"/>
                  </a:moveTo>
                  <a:lnTo>
                    <a:pt x="2029968" y="2029968"/>
                  </a:lnTo>
                  <a:lnTo>
                    <a:pt x="0" y="2029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91CB31D0-C621-4EF7-AE25-5C3BCD5882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038053" y="2029625"/>
              <a:ext cx="2029878" cy="2023760"/>
            </a:xfrm>
            <a:prstGeom prst="rect">
              <a:avLst/>
            </a:prstGeom>
          </p:spPr>
        </p:pic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B2CC2F02-F98F-4E69-AA01-CCF96A602E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034034" y="4055808"/>
              <a:ext cx="2029968" cy="2029968"/>
            </a:xfrm>
            <a:prstGeom prst="rect">
              <a:avLst/>
            </a:prstGeom>
          </p:spPr>
        </p:pic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FE05B395-CB62-452B-A84F-936AD8EDDA92}"/>
                </a:ext>
              </a:extLst>
            </p:cNvPr>
            <p:cNvSpPr/>
            <p:nvPr userDrawn="1"/>
          </p:nvSpPr>
          <p:spPr>
            <a:xfrm>
              <a:off x="2028568" y="4060579"/>
              <a:ext cx="2029968" cy="2029968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2622C30D-68C5-43FD-997F-CFD4DD72E1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2043950" y="4059923"/>
              <a:ext cx="2029968" cy="2029968"/>
            </a:xfrm>
            <a:prstGeom prst="rect">
              <a:avLst/>
            </a:prstGeom>
          </p:spPr>
        </p:pic>
        <p:pic>
          <p:nvPicPr>
            <p:cNvPr id="35" name="Picture 34" descr="A black and white striped pattern&#10;&#10;Description automatically generated with low confidence">
              <a:extLst>
                <a:ext uri="{FF2B5EF4-FFF2-40B4-BE49-F238E27FC236}">
                  <a16:creationId xmlns:a16="http://schemas.microsoft.com/office/drawing/2014/main" id="{AC3CDBDC-6EB4-4B7D-A9F6-4CFA748349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6" y="3062893"/>
              <a:ext cx="2019299" cy="999451"/>
            </a:xfrm>
            <a:prstGeom prst="rect">
              <a:avLst/>
            </a:prstGeom>
          </p:spPr>
        </p:pic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4457344-691C-417A-9C29-5AD8ABC43E5A}"/>
                </a:ext>
              </a:extLst>
            </p:cNvPr>
            <p:cNvGrpSpPr/>
            <p:nvPr userDrawn="1"/>
          </p:nvGrpSpPr>
          <p:grpSpPr>
            <a:xfrm>
              <a:off x="4433" y="4836676"/>
              <a:ext cx="1965960" cy="1965960"/>
              <a:chOff x="5361924" y="7472790"/>
              <a:chExt cx="1828800" cy="1828800"/>
            </a:xfrm>
          </p:grpSpPr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68DDC918-5A9B-4D14-98A4-9002D8520FD4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165" name="Group 164">
                  <a:extLst>
                    <a:ext uri="{FF2B5EF4-FFF2-40B4-BE49-F238E27FC236}">
                      <a16:creationId xmlns:a16="http://schemas.microsoft.com/office/drawing/2014/main" id="{2366D07F-988F-459E-BBD3-15126F92902E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173" name="Group 172">
                    <a:extLst>
                      <a:ext uri="{FF2B5EF4-FFF2-40B4-BE49-F238E27FC236}">
                        <a16:creationId xmlns:a16="http://schemas.microsoft.com/office/drawing/2014/main" id="{6CCACE8C-699F-4B10-BA84-94167BA05CC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176" name="Group 175">
                      <a:extLst>
                        <a:ext uri="{FF2B5EF4-FFF2-40B4-BE49-F238E27FC236}">
                          <a16:creationId xmlns:a16="http://schemas.microsoft.com/office/drawing/2014/main" id="{59F49E32-0B71-4676-8012-BA971DA2100F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178" name="Group 177">
                        <a:extLst>
                          <a:ext uri="{FF2B5EF4-FFF2-40B4-BE49-F238E27FC236}">
                            <a16:creationId xmlns:a16="http://schemas.microsoft.com/office/drawing/2014/main" id="{DF41FA5A-1504-4DC4-B514-00C377423E7C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180" name="Group 179">
                          <a:extLst>
                            <a:ext uri="{FF2B5EF4-FFF2-40B4-BE49-F238E27FC236}">
                              <a16:creationId xmlns:a16="http://schemas.microsoft.com/office/drawing/2014/main" id="{68B4610A-A91F-459F-A9C5-9FC624665516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182" name="Group 181">
                            <a:extLst>
                              <a:ext uri="{FF2B5EF4-FFF2-40B4-BE49-F238E27FC236}">
                                <a16:creationId xmlns:a16="http://schemas.microsoft.com/office/drawing/2014/main" id="{D794F6E3-A9E3-42A9-93AA-7B9E20AD922D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184" name="Oval 183">
                              <a:extLst>
                                <a:ext uri="{FF2B5EF4-FFF2-40B4-BE49-F238E27FC236}">
                                  <a16:creationId xmlns:a16="http://schemas.microsoft.com/office/drawing/2014/main" id="{90B634B0-4792-4A28-B92A-ACA35F177675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6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185" name="Oval 184">
                              <a:extLst>
                                <a:ext uri="{FF2B5EF4-FFF2-40B4-BE49-F238E27FC236}">
                                  <a16:creationId xmlns:a16="http://schemas.microsoft.com/office/drawing/2014/main" id="{1B466310-2C61-42F1-81EB-2B5BF01B2267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6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183" name="Oval 182">
                            <a:extLst>
                              <a:ext uri="{FF2B5EF4-FFF2-40B4-BE49-F238E27FC236}">
                                <a16:creationId xmlns:a16="http://schemas.microsoft.com/office/drawing/2014/main" id="{53A72A9A-79AE-4A89-8938-7A85E2248DE6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6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181" name="Oval 180">
                          <a:extLst>
                            <a:ext uri="{FF2B5EF4-FFF2-40B4-BE49-F238E27FC236}">
                              <a16:creationId xmlns:a16="http://schemas.microsoft.com/office/drawing/2014/main" id="{02618DCD-5B83-4412-9D1A-968C246DCAC1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6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179" name="Oval 178">
                        <a:extLst>
                          <a:ext uri="{FF2B5EF4-FFF2-40B4-BE49-F238E27FC236}">
                            <a16:creationId xmlns:a16="http://schemas.microsoft.com/office/drawing/2014/main" id="{29B173F9-A6EA-4B31-B4C6-3C8DE08F2F1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6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177" name="Oval 176">
                      <a:extLst>
                        <a:ext uri="{FF2B5EF4-FFF2-40B4-BE49-F238E27FC236}">
                          <a16:creationId xmlns:a16="http://schemas.microsoft.com/office/drawing/2014/main" id="{466DB0E2-4B80-4A09-8BCA-9432E1E1DAE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6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174" name="Oval 173">
                    <a:extLst>
                      <a:ext uri="{FF2B5EF4-FFF2-40B4-BE49-F238E27FC236}">
                        <a16:creationId xmlns:a16="http://schemas.microsoft.com/office/drawing/2014/main" id="{20D2F087-D77F-4913-922E-014FB9DEE6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DD44EC19-A244-4489-9CB8-0361CFBFD02F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C5C029E7-6D6D-4D14-8D8E-E407011AF097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4A74D8A7-ACD3-40A3-918D-46DF99BF9F3E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9C994ED9-5124-452B-986B-4782056BCFB3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8ADCBFB4-9F0A-40FB-A585-2728254E0A7C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42E049E2-81A6-45F8-BA9F-DEA21400B1AD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5F20D6C-6085-4D3F-9186-6895908C97B9}"/>
                </a:ext>
              </a:extLst>
            </p:cNvPr>
            <p:cNvSpPr/>
            <p:nvPr userDrawn="1"/>
          </p:nvSpPr>
          <p:spPr>
            <a:xfrm rot="16200000">
              <a:off x="506891" y="5335524"/>
              <a:ext cx="1014984" cy="2029968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C56BE23-DE49-4D55-A6A0-DFE2A870120D}"/>
                </a:ext>
              </a:extLst>
            </p:cNvPr>
            <p:cNvSpPr/>
            <p:nvPr userDrawn="1"/>
          </p:nvSpPr>
          <p:spPr>
            <a:xfrm>
              <a:off x="2028658" y="6089528"/>
              <a:ext cx="2049251" cy="76847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BCF3BD55-FF25-4CA9-8016-81AEB8AA43E8}"/>
                </a:ext>
              </a:extLst>
            </p:cNvPr>
            <p:cNvSpPr/>
            <p:nvPr userDrawn="1"/>
          </p:nvSpPr>
          <p:spPr>
            <a:xfrm>
              <a:off x="3838078" y="1859479"/>
              <a:ext cx="274320" cy="27432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E09EA6C-7AC2-47BE-95B8-4D3412867BA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1990665"/>
              <a:ext cx="4023360" cy="33894"/>
            </a:xfrm>
            <a:prstGeom prst="line">
              <a:avLst/>
            </a:prstGeom>
            <a:ln w="508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31078" y="432707"/>
            <a:ext cx="4837340" cy="2089131"/>
          </a:xfrm>
        </p:spPr>
        <p:txBody>
          <a:bodyPr anchor="b">
            <a:normAutofit/>
          </a:bodyPr>
          <a:lstStyle>
            <a:lvl1pPr algn="l">
              <a:defRPr sz="36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00591F-8CE8-B626-C81A-6C960B2BAE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31079" y="2530264"/>
            <a:ext cx="4837339" cy="772190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92" name="Date Placeholder 3">
            <a:extLst>
              <a:ext uri="{FF2B5EF4-FFF2-40B4-BE49-F238E27FC236}">
                <a16:creationId xmlns:a16="http://schemas.microsoft.com/office/drawing/2014/main" id="{2837477B-3D20-4982-86AF-91100FE408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39866" y="4764882"/>
            <a:ext cx="82296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193" name="Footer Placeholder 4">
            <a:extLst>
              <a:ext uri="{FF2B5EF4-FFF2-40B4-BE49-F238E27FC236}">
                <a16:creationId xmlns:a16="http://schemas.microsoft.com/office/drawing/2014/main" id="{B6E38A1E-AF37-4A09-9B69-65397A079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45399" y="4762500"/>
            <a:ext cx="17145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94" name="Slide Number Placeholder 5">
            <a:extLst>
              <a:ext uri="{FF2B5EF4-FFF2-40B4-BE49-F238E27FC236}">
                <a16:creationId xmlns:a16="http://schemas.microsoft.com/office/drawing/2014/main" id="{FB77B535-C760-4E32-8A7E-BF9AD08BB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42471" y="4764636"/>
            <a:ext cx="3429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112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240">
          <p15:clr>
            <a:srgbClr val="FBAE40"/>
          </p15:clr>
        </p15:guide>
        <p15:guide id="4" orient="horz" pos="225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CA106-0FC3-4FE9-9338-4AC3D1560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8802" y="672084"/>
            <a:ext cx="7041966" cy="1021842"/>
          </a:xfrm>
        </p:spPr>
        <p:txBody>
          <a:bodyPr anchor="t" anchorCtr="0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8DF45F-9FEA-47BE-AC15-52BE148E1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429624" y="0"/>
            <a:ext cx="761988" cy="5143500"/>
            <a:chOff x="11239499" y="0"/>
            <a:chExt cx="1015984" cy="685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C51E8B0-FB58-4BB5-9CDA-4A1B4DBC5E90}"/>
                </a:ext>
              </a:extLst>
            </p:cNvPr>
            <p:cNvSpPr/>
            <p:nvPr userDrawn="1"/>
          </p:nvSpPr>
          <p:spPr>
            <a:xfrm>
              <a:off x="11240499" y="4828032"/>
              <a:ext cx="1014984" cy="202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548A0B2-480B-4F04-B7B5-67A328B174D1}"/>
                </a:ext>
              </a:extLst>
            </p:cNvPr>
            <p:cNvSpPr/>
            <p:nvPr userDrawn="1"/>
          </p:nvSpPr>
          <p:spPr>
            <a:xfrm>
              <a:off x="11240499" y="2833299"/>
              <a:ext cx="1014984" cy="202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60A19E0-B2DF-4E35-AD7A-80B5C429C6C1}"/>
                </a:ext>
              </a:extLst>
            </p:cNvPr>
            <p:cNvSpPr/>
            <p:nvPr userDrawn="1"/>
          </p:nvSpPr>
          <p:spPr>
            <a:xfrm>
              <a:off x="11240499" y="0"/>
              <a:ext cx="1014984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2" name="Picture 11" descr="A black and white striped pattern&#10;&#10;Description automatically generated with low confidence">
              <a:extLst>
                <a:ext uri="{FF2B5EF4-FFF2-40B4-BE49-F238E27FC236}">
                  <a16:creationId xmlns:a16="http://schemas.microsoft.com/office/drawing/2014/main" id="{9C1C8F39-77F2-4753-A57A-2FD46715F2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10777681" y="552957"/>
              <a:ext cx="1828800" cy="905164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A6AF7B2-2B49-4313-AA4E-3FD77CF46A04}"/>
                </a:ext>
              </a:extLst>
            </p:cNvPr>
            <p:cNvSpPr/>
            <p:nvPr userDrawn="1"/>
          </p:nvSpPr>
          <p:spPr>
            <a:xfrm>
              <a:off x="11240499" y="2029863"/>
              <a:ext cx="1014984" cy="8129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9AA5A01-9E59-4C92-9634-32DB51F918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>
              <a:off x="10880040" y="5394960"/>
              <a:ext cx="1828800" cy="914400"/>
            </a:xfrm>
            <a:prstGeom prst="rect">
              <a:avLst/>
            </a:prstGeom>
          </p:spPr>
        </p:pic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3A8643-F793-41FD-AA08-DC814719C40C}"/>
                </a:ext>
              </a:extLst>
            </p:cNvPr>
            <p:cNvSpPr/>
            <p:nvPr userDrawn="1"/>
          </p:nvSpPr>
          <p:spPr>
            <a:xfrm>
              <a:off x="11250235" y="4949368"/>
              <a:ext cx="914400" cy="1828800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F50D01F0-AD27-490F-8044-37B2D9E23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10793035" y="3391083"/>
              <a:ext cx="1828800" cy="914400"/>
            </a:xfrm>
            <a:prstGeom prst="rect">
              <a:avLst/>
            </a:prstGeom>
          </p:spPr>
        </p:pic>
      </p:grp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417A4AF6-C906-4001-BDD2-33E1163185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8801" y="4764882"/>
            <a:ext cx="822960" cy="27384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5D94E674-98A0-4C77-80E5-084E3946B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8365" y="4762500"/>
            <a:ext cx="1714500" cy="27384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36214990-C58C-4D62-9381-40A24246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42471" y="4767263"/>
            <a:ext cx="3429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135D7B7-20E9-ADCF-4417-B443AF3112F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78801" y="1943100"/>
            <a:ext cx="3386276" cy="2628900"/>
          </a:xfrm>
        </p:spPr>
        <p:txBody>
          <a:bodyPr>
            <a:normAutofit/>
          </a:bodyPr>
          <a:lstStyle>
            <a:lvl1pPr marL="0" indent="0">
              <a:lnSpc>
                <a:spcPts val="1500"/>
              </a:lnSpc>
              <a:buFont typeface="Arial" panose="020B0604020202020204" pitchFamily="34" charset="0"/>
              <a:buNone/>
              <a:defRPr sz="1350"/>
            </a:lvl1pPr>
            <a:lvl2pPr marL="342900">
              <a:lnSpc>
                <a:spcPts val="1500"/>
              </a:lnSpc>
              <a:defRPr sz="1350"/>
            </a:lvl2pPr>
            <a:lvl3pPr marL="685800">
              <a:lnSpc>
                <a:spcPts val="1500"/>
              </a:lnSpc>
              <a:defRPr sz="1350"/>
            </a:lvl3pPr>
            <a:lvl4pPr marL="1028700">
              <a:lnSpc>
                <a:spcPts val="1500"/>
              </a:lnSpc>
              <a:defRPr sz="1350"/>
            </a:lvl4pPr>
            <a:lvl5pPr marL="1371600">
              <a:lnSpc>
                <a:spcPts val="1500"/>
              </a:lnSpc>
              <a:defRPr sz="13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D4468C5-0B68-8408-80C5-F8681CA9891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234492" y="1943100"/>
            <a:ext cx="3386276" cy="2628900"/>
          </a:xfrm>
        </p:spPr>
        <p:txBody>
          <a:bodyPr>
            <a:normAutofit/>
          </a:bodyPr>
          <a:lstStyle>
            <a:lvl1pPr marL="0" indent="0">
              <a:lnSpc>
                <a:spcPts val="1500"/>
              </a:lnSpc>
              <a:buFont typeface="Arial" panose="020B0604020202020204" pitchFamily="34" charset="0"/>
              <a:buNone/>
              <a:defRPr sz="1350"/>
            </a:lvl1pPr>
            <a:lvl2pPr marL="342900">
              <a:lnSpc>
                <a:spcPts val="1500"/>
              </a:lnSpc>
              <a:defRPr sz="1350"/>
            </a:lvl2pPr>
            <a:lvl3pPr marL="685800">
              <a:lnSpc>
                <a:spcPts val="1500"/>
              </a:lnSpc>
              <a:defRPr sz="1350"/>
            </a:lvl3pPr>
            <a:lvl4pPr marL="1028700">
              <a:lnSpc>
                <a:spcPts val="1500"/>
              </a:lnSpc>
              <a:defRPr sz="1350"/>
            </a:lvl4pPr>
            <a:lvl5pPr marL="1371600">
              <a:lnSpc>
                <a:spcPts val="1500"/>
              </a:lnSpc>
              <a:defRPr sz="13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2371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bg>
      <p:bgPr>
        <a:solidFill>
          <a:schemeClr val="accent6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phic 25">
            <a:extLst>
              <a:ext uri="{FF2B5EF4-FFF2-40B4-BE49-F238E27FC236}">
                <a16:creationId xmlns:a16="http://schemas.microsoft.com/office/drawing/2014/main" id="{E1BC9BFE-80C0-4DA9-92DB-070C41E412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8097646">
            <a:off x="302327" y="-737519"/>
            <a:ext cx="1522476" cy="1522476"/>
          </a:xfrm>
          <a:prstGeom prst="rect">
            <a:avLst/>
          </a:prstGeom>
        </p:spPr>
      </p:pic>
      <p:sp>
        <p:nvSpPr>
          <p:cNvPr id="8" name="Rectangle 23">
            <a:extLst>
              <a:ext uri="{FF2B5EF4-FFF2-40B4-BE49-F238E27FC236}">
                <a16:creationId xmlns:a16="http://schemas.microsoft.com/office/drawing/2014/main" id="{F5ED01E4-35BF-4165-86B2-E3BDFD91D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3508190">
            <a:off x="-768817" y="343671"/>
            <a:ext cx="1522476" cy="1522476"/>
          </a:xfrm>
          <a:custGeom>
            <a:avLst/>
            <a:gdLst>
              <a:gd name="connsiteX0" fmla="*/ 0 w 2029968"/>
              <a:gd name="connsiteY0" fmla="*/ 0 h 2029968"/>
              <a:gd name="connsiteX1" fmla="*/ 2029968 w 2029968"/>
              <a:gd name="connsiteY1" fmla="*/ 0 h 2029968"/>
              <a:gd name="connsiteX2" fmla="*/ 2029968 w 2029968"/>
              <a:gd name="connsiteY2" fmla="*/ 2029968 h 2029968"/>
              <a:gd name="connsiteX3" fmla="*/ 0 w 2029968"/>
              <a:gd name="connsiteY3" fmla="*/ 2029968 h 2029968"/>
              <a:gd name="connsiteX4" fmla="*/ 0 w 2029968"/>
              <a:gd name="connsiteY4" fmla="*/ 0 h 2029968"/>
              <a:gd name="connsiteX0" fmla="*/ 0 w 2029968"/>
              <a:gd name="connsiteY0" fmla="*/ 0 h 2029968"/>
              <a:gd name="connsiteX1" fmla="*/ 2029968 w 2029968"/>
              <a:gd name="connsiteY1" fmla="*/ 2029968 h 2029968"/>
              <a:gd name="connsiteX2" fmla="*/ 0 w 2029968"/>
              <a:gd name="connsiteY2" fmla="*/ 2029968 h 2029968"/>
              <a:gd name="connsiteX3" fmla="*/ 0 w 2029968"/>
              <a:gd name="connsiteY3" fmla="*/ 0 h 202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9968" h="2029968">
                <a:moveTo>
                  <a:pt x="0" y="0"/>
                </a:moveTo>
                <a:lnTo>
                  <a:pt x="2029968" y="2029968"/>
                </a:lnTo>
                <a:lnTo>
                  <a:pt x="0" y="20299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7E6DD28-C71B-4484-973A-D12A277300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8902533">
            <a:off x="305919" y="1425356"/>
            <a:ext cx="1522476" cy="1522476"/>
          </a:xfrm>
          <a:prstGeom prst="rect">
            <a:avLst/>
          </a:prstGeom>
        </p:spPr>
      </p:pic>
      <p:sp>
        <p:nvSpPr>
          <p:cNvPr id="11" name="Rectangle 23">
            <a:extLst>
              <a:ext uri="{FF2B5EF4-FFF2-40B4-BE49-F238E27FC236}">
                <a16:creationId xmlns:a16="http://schemas.microsoft.com/office/drawing/2014/main" id="{AB403917-256D-4254-A12F-F8BD19470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8900000">
            <a:off x="310082" y="1442636"/>
            <a:ext cx="1522476" cy="1522476"/>
          </a:xfrm>
          <a:custGeom>
            <a:avLst/>
            <a:gdLst>
              <a:gd name="connsiteX0" fmla="*/ 0 w 2029968"/>
              <a:gd name="connsiteY0" fmla="*/ 0 h 2029968"/>
              <a:gd name="connsiteX1" fmla="*/ 2029968 w 2029968"/>
              <a:gd name="connsiteY1" fmla="*/ 0 h 2029968"/>
              <a:gd name="connsiteX2" fmla="*/ 2029968 w 2029968"/>
              <a:gd name="connsiteY2" fmla="*/ 2029968 h 2029968"/>
              <a:gd name="connsiteX3" fmla="*/ 0 w 2029968"/>
              <a:gd name="connsiteY3" fmla="*/ 2029968 h 2029968"/>
              <a:gd name="connsiteX4" fmla="*/ 0 w 2029968"/>
              <a:gd name="connsiteY4" fmla="*/ 0 h 2029968"/>
              <a:gd name="connsiteX0" fmla="*/ 0 w 2029968"/>
              <a:gd name="connsiteY0" fmla="*/ 0 h 2029968"/>
              <a:gd name="connsiteX1" fmla="*/ 2029968 w 2029968"/>
              <a:gd name="connsiteY1" fmla="*/ 2029968 h 2029968"/>
              <a:gd name="connsiteX2" fmla="*/ 0 w 2029968"/>
              <a:gd name="connsiteY2" fmla="*/ 2029968 h 2029968"/>
              <a:gd name="connsiteX3" fmla="*/ 0 w 2029968"/>
              <a:gd name="connsiteY3" fmla="*/ 0 h 202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9968" h="2029968">
                <a:moveTo>
                  <a:pt x="0" y="0"/>
                </a:moveTo>
                <a:lnTo>
                  <a:pt x="2029968" y="2029968"/>
                </a:lnTo>
                <a:lnTo>
                  <a:pt x="0" y="20299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B06A536-5FCB-4761-9EFF-D54BE44B1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708786">
            <a:off x="-765964" y="2516902"/>
            <a:ext cx="1522476" cy="152247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3B73C61F-3D48-4791-8280-D98D2C01E0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3489227">
            <a:off x="1394855" y="2518445"/>
            <a:ext cx="1522476" cy="152247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94213EEF-F759-4045-9F53-49C1B4ECE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5559" y="4354796"/>
            <a:ext cx="2153108" cy="750581"/>
            <a:chOff x="-13699" y="5839164"/>
            <a:chExt cx="2862790" cy="1000774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EA4D38A-6ACD-4296-B454-E5BD7EAC7990}"/>
                </a:ext>
              </a:extLst>
            </p:cNvPr>
            <p:cNvSpPr/>
            <p:nvPr userDrawn="1"/>
          </p:nvSpPr>
          <p:spPr>
            <a:xfrm>
              <a:off x="-13699" y="5839164"/>
              <a:ext cx="2862790" cy="28868"/>
            </a:xfrm>
            <a:custGeom>
              <a:avLst/>
              <a:gdLst>
                <a:gd name="connsiteX0" fmla="*/ 0 w 2862790"/>
                <a:gd name="connsiteY0" fmla="*/ 0 h 28868"/>
                <a:gd name="connsiteX1" fmla="*/ 2862790 w 2862790"/>
                <a:gd name="connsiteY1" fmla="*/ 0 h 28868"/>
                <a:gd name="connsiteX2" fmla="*/ 2833921 w 2862790"/>
                <a:gd name="connsiteY2" fmla="*/ 28868 h 28868"/>
                <a:gd name="connsiteX3" fmla="*/ 28868 w 2862790"/>
                <a:gd name="connsiteY3" fmla="*/ 28868 h 28868"/>
                <a:gd name="connsiteX4" fmla="*/ 0 w 2862790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2790" h="28868">
                  <a:moveTo>
                    <a:pt x="0" y="0"/>
                  </a:moveTo>
                  <a:lnTo>
                    <a:pt x="2862790" y="0"/>
                  </a:lnTo>
                  <a:lnTo>
                    <a:pt x="2833921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4E32D04-F635-443B-B642-A509F0473CB5}"/>
                </a:ext>
              </a:extLst>
            </p:cNvPr>
            <p:cNvSpPr/>
            <p:nvPr userDrawn="1"/>
          </p:nvSpPr>
          <p:spPr>
            <a:xfrm>
              <a:off x="47246" y="5900109"/>
              <a:ext cx="2740900" cy="28868"/>
            </a:xfrm>
            <a:custGeom>
              <a:avLst/>
              <a:gdLst>
                <a:gd name="connsiteX0" fmla="*/ 0 w 2740900"/>
                <a:gd name="connsiteY0" fmla="*/ 0 h 28868"/>
                <a:gd name="connsiteX1" fmla="*/ 2740900 w 2740900"/>
                <a:gd name="connsiteY1" fmla="*/ 0 h 28868"/>
                <a:gd name="connsiteX2" fmla="*/ 2712032 w 2740900"/>
                <a:gd name="connsiteY2" fmla="*/ 28868 h 28868"/>
                <a:gd name="connsiteX3" fmla="*/ 28868 w 2740900"/>
                <a:gd name="connsiteY3" fmla="*/ 28868 h 28868"/>
                <a:gd name="connsiteX4" fmla="*/ 0 w 2740900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0900" h="28868">
                  <a:moveTo>
                    <a:pt x="0" y="0"/>
                  </a:moveTo>
                  <a:lnTo>
                    <a:pt x="2740900" y="0"/>
                  </a:lnTo>
                  <a:lnTo>
                    <a:pt x="2712032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95F7659-0C0B-4798-8392-E6B36B62DEA4}"/>
                </a:ext>
              </a:extLst>
            </p:cNvPr>
            <p:cNvSpPr/>
            <p:nvPr userDrawn="1"/>
          </p:nvSpPr>
          <p:spPr>
            <a:xfrm>
              <a:off x="108992" y="5960251"/>
              <a:ext cx="2619012" cy="29671"/>
            </a:xfrm>
            <a:custGeom>
              <a:avLst/>
              <a:gdLst>
                <a:gd name="connsiteX0" fmla="*/ 0 w 2619012"/>
                <a:gd name="connsiteY0" fmla="*/ 0 h 29671"/>
                <a:gd name="connsiteX1" fmla="*/ 2619012 w 2619012"/>
                <a:gd name="connsiteY1" fmla="*/ 0 h 29671"/>
                <a:gd name="connsiteX2" fmla="*/ 2590143 w 2619012"/>
                <a:gd name="connsiteY2" fmla="*/ 28868 h 29671"/>
                <a:gd name="connsiteX3" fmla="*/ 28067 w 2619012"/>
                <a:gd name="connsiteY3" fmla="*/ 29671 h 29671"/>
                <a:gd name="connsiteX4" fmla="*/ 28869 w 2619012"/>
                <a:gd name="connsiteY4" fmla="*/ 28869 h 29671"/>
                <a:gd name="connsiteX5" fmla="*/ 0 w 2619012"/>
                <a:gd name="connsiteY5" fmla="*/ 0 h 2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9012" h="29671">
                  <a:moveTo>
                    <a:pt x="0" y="0"/>
                  </a:moveTo>
                  <a:lnTo>
                    <a:pt x="2619012" y="0"/>
                  </a:lnTo>
                  <a:lnTo>
                    <a:pt x="2590143" y="28868"/>
                  </a:lnTo>
                  <a:lnTo>
                    <a:pt x="28067" y="29671"/>
                  </a:lnTo>
                  <a:lnTo>
                    <a:pt x="28869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BB69ABA-A9D2-4649-A1AB-E12AA2D2C8E7}"/>
                </a:ext>
              </a:extLst>
            </p:cNvPr>
            <p:cNvSpPr/>
            <p:nvPr userDrawn="1"/>
          </p:nvSpPr>
          <p:spPr>
            <a:xfrm>
              <a:off x="169937" y="6021196"/>
              <a:ext cx="2497122" cy="29670"/>
            </a:xfrm>
            <a:custGeom>
              <a:avLst/>
              <a:gdLst>
                <a:gd name="connsiteX0" fmla="*/ 0 w 2497122"/>
                <a:gd name="connsiteY0" fmla="*/ 0 h 29670"/>
                <a:gd name="connsiteX1" fmla="*/ 2497122 w 2497122"/>
                <a:gd name="connsiteY1" fmla="*/ 0 h 29670"/>
                <a:gd name="connsiteX2" fmla="*/ 2468254 w 2497122"/>
                <a:gd name="connsiteY2" fmla="*/ 28868 h 29670"/>
                <a:gd name="connsiteX3" fmla="*/ 28066 w 2497122"/>
                <a:gd name="connsiteY3" fmla="*/ 29670 h 29670"/>
                <a:gd name="connsiteX4" fmla="*/ 28868 w 2497122"/>
                <a:gd name="connsiteY4" fmla="*/ 28868 h 29670"/>
                <a:gd name="connsiteX5" fmla="*/ 0 w 2497122"/>
                <a:gd name="connsiteY5" fmla="*/ 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7122" h="29670">
                  <a:moveTo>
                    <a:pt x="0" y="0"/>
                  </a:moveTo>
                  <a:lnTo>
                    <a:pt x="2497122" y="0"/>
                  </a:lnTo>
                  <a:lnTo>
                    <a:pt x="2468254" y="28868"/>
                  </a:lnTo>
                  <a:lnTo>
                    <a:pt x="28066" y="29670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B88CE23-E34F-470C-8C56-46C08322365F}"/>
                </a:ext>
              </a:extLst>
            </p:cNvPr>
            <p:cNvSpPr/>
            <p:nvPr userDrawn="1"/>
          </p:nvSpPr>
          <p:spPr>
            <a:xfrm>
              <a:off x="229279" y="6082140"/>
              <a:ext cx="2376837" cy="28869"/>
            </a:xfrm>
            <a:custGeom>
              <a:avLst/>
              <a:gdLst>
                <a:gd name="connsiteX0" fmla="*/ 0 w 2376837"/>
                <a:gd name="connsiteY0" fmla="*/ 0 h 28869"/>
                <a:gd name="connsiteX1" fmla="*/ 2376837 w 2376837"/>
                <a:gd name="connsiteY1" fmla="*/ 0 h 28869"/>
                <a:gd name="connsiteX2" fmla="*/ 2347968 w 2376837"/>
                <a:gd name="connsiteY2" fmla="*/ 28868 h 28869"/>
                <a:gd name="connsiteX3" fmla="*/ 28868 w 2376837"/>
                <a:gd name="connsiteY3" fmla="*/ 28869 h 28869"/>
                <a:gd name="connsiteX4" fmla="*/ 0 w 2376837"/>
                <a:gd name="connsiteY4" fmla="*/ 0 h 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6837" h="28869">
                  <a:moveTo>
                    <a:pt x="0" y="0"/>
                  </a:moveTo>
                  <a:lnTo>
                    <a:pt x="2376837" y="0"/>
                  </a:lnTo>
                  <a:lnTo>
                    <a:pt x="2347968" y="28868"/>
                  </a:lnTo>
                  <a:lnTo>
                    <a:pt x="28868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5BCEDE2-961E-42E0-AF9C-3D070C974007}"/>
                </a:ext>
              </a:extLst>
            </p:cNvPr>
            <p:cNvSpPr/>
            <p:nvPr userDrawn="1"/>
          </p:nvSpPr>
          <p:spPr>
            <a:xfrm>
              <a:off x="290222" y="6143085"/>
              <a:ext cx="2254948" cy="28868"/>
            </a:xfrm>
            <a:custGeom>
              <a:avLst/>
              <a:gdLst>
                <a:gd name="connsiteX0" fmla="*/ 0 w 2254948"/>
                <a:gd name="connsiteY0" fmla="*/ 0 h 28868"/>
                <a:gd name="connsiteX1" fmla="*/ 2254948 w 2254948"/>
                <a:gd name="connsiteY1" fmla="*/ 0 h 28868"/>
                <a:gd name="connsiteX2" fmla="*/ 2226080 w 2254948"/>
                <a:gd name="connsiteY2" fmla="*/ 28868 h 28868"/>
                <a:gd name="connsiteX3" fmla="*/ 28868 w 2254948"/>
                <a:gd name="connsiteY3" fmla="*/ 28868 h 28868"/>
                <a:gd name="connsiteX4" fmla="*/ 0 w 2254948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4948" h="28868">
                  <a:moveTo>
                    <a:pt x="0" y="0"/>
                  </a:moveTo>
                  <a:lnTo>
                    <a:pt x="2254948" y="0"/>
                  </a:lnTo>
                  <a:lnTo>
                    <a:pt x="2226080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B930397-7A2A-4C50-9EC9-7E3107D065D2}"/>
                </a:ext>
              </a:extLst>
            </p:cNvPr>
            <p:cNvSpPr/>
            <p:nvPr userDrawn="1"/>
          </p:nvSpPr>
          <p:spPr>
            <a:xfrm>
              <a:off x="351970" y="6203227"/>
              <a:ext cx="2133059" cy="29671"/>
            </a:xfrm>
            <a:custGeom>
              <a:avLst/>
              <a:gdLst>
                <a:gd name="connsiteX0" fmla="*/ 2133059 w 2133059"/>
                <a:gd name="connsiteY0" fmla="*/ 0 h 29671"/>
                <a:gd name="connsiteX1" fmla="*/ 2104190 w 2133059"/>
                <a:gd name="connsiteY1" fmla="*/ 28869 h 29671"/>
                <a:gd name="connsiteX2" fmla="*/ 28066 w 2133059"/>
                <a:gd name="connsiteY2" fmla="*/ 29671 h 29671"/>
                <a:gd name="connsiteX3" fmla="*/ 28868 w 2133059"/>
                <a:gd name="connsiteY3" fmla="*/ 28869 h 29671"/>
                <a:gd name="connsiteX4" fmla="*/ 0 w 2133059"/>
                <a:gd name="connsiteY4" fmla="*/ 1 h 29671"/>
                <a:gd name="connsiteX5" fmla="*/ 2133059 w 2133059"/>
                <a:gd name="connsiteY5" fmla="*/ 0 h 2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3059" h="29671">
                  <a:moveTo>
                    <a:pt x="2133059" y="0"/>
                  </a:moveTo>
                  <a:lnTo>
                    <a:pt x="2104190" y="28869"/>
                  </a:lnTo>
                  <a:lnTo>
                    <a:pt x="28066" y="29671"/>
                  </a:lnTo>
                  <a:lnTo>
                    <a:pt x="28868" y="28869"/>
                  </a:lnTo>
                  <a:lnTo>
                    <a:pt x="0" y="1"/>
                  </a:lnTo>
                  <a:lnTo>
                    <a:pt x="21330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CA98174-D81B-4241-92F9-D0D2028FFEA9}"/>
                </a:ext>
              </a:extLst>
            </p:cNvPr>
            <p:cNvSpPr/>
            <p:nvPr userDrawn="1"/>
          </p:nvSpPr>
          <p:spPr>
            <a:xfrm>
              <a:off x="411310" y="6264172"/>
              <a:ext cx="2012774" cy="28868"/>
            </a:xfrm>
            <a:custGeom>
              <a:avLst/>
              <a:gdLst>
                <a:gd name="connsiteX0" fmla="*/ 0 w 2012774"/>
                <a:gd name="connsiteY0" fmla="*/ 0 h 28868"/>
                <a:gd name="connsiteX1" fmla="*/ 2012774 w 2012774"/>
                <a:gd name="connsiteY1" fmla="*/ 0 h 28868"/>
                <a:gd name="connsiteX2" fmla="*/ 1983905 w 2012774"/>
                <a:gd name="connsiteY2" fmla="*/ 28868 h 28868"/>
                <a:gd name="connsiteX3" fmla="*/ 28868 w 2012774"/>
                <a:gd name="connsiteY3" fmla="*/ 28868 h 28868"/>
                <a:gd name="connsiteX4" fmla="*/ 0 w 2012774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2774" h="28868">
                  <a:moveTo>
                    <a:pt x="0" y="0"/>
                  </a:moveTo>
                  <a:lnTo>
                    <a:pt x="2012774" y="0"/>
                  </a:lnTo>
                  <a:lnTo>
                    <a:pt x="1983905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4CE4FB8-5E60-4288-B2FA-CF9316ED449F}"/>
                </a:ext>
              </a:extLst>
            </p:cNvPr>
            <p:cNvSpPr/>
            <p:nvPr userDrawn="1"/>
          </p:nvSpPr>
          <p:spPr>
            <a:xfrm>
              <a:off x="472255" y="6325117"/>
              <a:ext cx="1890884" cy="28868"/>
            </a:xfrm>
            <a:custGeom>
              <a:avLst/>
              <a:gdLst>
                <a:gd name="connsiteX0" fmla="*/ 0 w 1890884"/>
                <a:gd name="connsiteY0" fmla="*/ 0 h 28868"/>
                <a:gd name="connsiteX1" fmla="*/ 1890884 w 1890884"/>
                <a:gd name="connsiteY1" fmla="*/ 0 h 28868"/>
                <a:gd name="connsiteX2" fmla="*/ 1862016 w 1890884"/>
                <a:gd name="connsiteY2" fmla="*/ 28868 h 28868"/>
                <a:gd name="connsiteX3" fmla="*/ 28868 w 1890884"/>
                <a:gd name="connsiteY3" fmla="*/ 28868 h 28868"/>
                <a:gd name="connsiteX4" fmla="*/ 0 w 1890884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0884" h="28868">
                  <a:moveTo>
                    <a:pt x="0" y="0"/>
                  </a:moveTo>
                  <a:lnTo>
                    <a:pt x="1890884" y="0"/>
                  </a:lnTo>
                  <a:lnTo>
                    <a:pt x="1862016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F69FE5C-0AF0-42F6-A721-9E2244C967AA}"/>
                </a:ext>
              </a:extLst>
            </p:cNvPr>
            <p:cNvSpPr/>
            <p:nvPr userDrawn="1"/>
          </p:nvSpPr>
          <p:spPr>
            <a:xfrm>
              <a:off x="533199" y="6386061"/>
              <a:ext cx="1768996" cy="28869"/>
            </a:xfrm>
            <a:custGeom>
              <a:avLst/>
              <a:gdLst>
                <a:gd name="connsiteX0" fmla="*/ 0 w 1768996"/>
                <a:gd name="connsiteY0" fmla="*/ 0 h 28869"/>
                <a:gd name="connsiteX1" fmla="*/ 1768996 w 1768996"/>
                <a:gd name="connsiteY1" fmla="*/ 0 h 28869"/>
                <a:gd name="connsiteX2" fmla="*/ 1740128 w 1768996"/>
                <a:gd name="connsiteY2" fmla="*/ 28868 h 28869"/>
                <a:gd name="connsiteX3" fmla="*/ 28869 w 1768996"/>
                <a:gd name="connsiteY3" fmla="*/ 28869 h 28869"/>
                <a:gd name="connsiteX4" fmla="*/ 0 w 1768996"/>
                <a:gd name="connsiteY4" fmla="*/ 0 h 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8996" h="28869">
                  <a:moveTo>
                    <a:pt x="0" y="0"/>
                  </a:moveTo>
                  <a:lnTo>
                    <a:pt x="1768996" y="0"/>
                  </a:lnTo>
                  <a:lnTo>
                    <a:pt x="1740128" y="28868"/>
                  </a:lnTo>
                  <a:lnTo>
                    <a:pt x="28869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8311083-D41B-4770-B6A9-AFA83AAF2885}"/>
                </a:ext>
              </a:extLst>
            </p:cNvPr>
            <p:cNvSpPr/>
            <p:nvPr userDrawn="1"/>
          </p:nvSpPr>
          <p:spPr>
            <a:xfrm>
              <a:off x="594946" y="6446204"/>
              <a:ext cx="1647106" cy="29670"/>
            </a:xfrm>
            <a:custGeom>
              <a:avLst/>
              <a:gdLst>
                <a:gd name="connsiteX0" fmla="*/ 0 w 1647106"/>
                <a:gd name="connsiteY0" fmla="*/ 0 h 29670"/>
                <a:gd name="connsiteX1" fmla="*/ 1647106 w 1647106"/>
                <a:gd name="connsiteY1" fmla="*/ 0 h 29670"/>
                <a:gd name="connsiteX2" fmla="*/ 1618238 w 1647106"/>
                <a:gd name="connsiteY2" fmla="*/ 28868 h 29670"/>
                <a:gd name="connsiteX3" fmla="*/ 28066 w 1647106"/>
                <a:gd name="connsiteY3" fmla="*/ 29670 h 29670"/>
                <a:gd name="connsiteX4" fmla="*/ 28868 w 1647106"/>
                <a:gd name="connsiteY4" fmla="*/ 28868 h 29670"/>
                <a:gd name="connsiteX5" fmla="*/ 0 w 1647106"/>
                <a:gd name="connsiteY5" fmla="*/ 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7106" h="29670">
                  <a:moveTo>
                    <a:pt x="0" y="0"/>
                  </a:moveTo>
                  <a:lnTo>
                    <a:pt x="1647106" y="0"/>
                  </a:lnTo>
                  <a:lnTo>
                    <a:pt x="1618238" y="28868"/>
                  </a:lnTo>
                  <a:lnTo>
                    <a:pt x="28066" y="29670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730A62EE-9416-445D-B0B2-018F008614B8}"/>
                </a:ext>
              </a:extLst>
            </p:cNvPr>
            <p:cNvSpPr/>
            <p:nvPr userDrawn="1"/>
          </p:nvSpPr>
          <p:spPr>
            <a:xfrm>
              <a:off x="654287" y="6507148"/>
              <a:ext cx="1526821" cy="28869"/>
            </a:xfrm>
            <a:custGeom>
              <a:avLst/>
              <a:gdLst>
                <a:gd name="connsiteX0" fmla="*/ 0 w 1526821"/>
                <a:gd name="connsiteY0" fmla="*/ 0 h 28869"/>
                <a:gd name="connsiteX1" fmla="*/ 1526821 w 1526821"/>
                <a:gd name="connsiteY1" fmla="*/ 0 h 28869"/>
                <a:gd name="connsiteX2" fmla="*/ 1497952 w 1526821"/>
                <a:gd name="connsiteY2" fmla="*/ 28868 h 28869"/>
                <a:gd name="connsiteX3" fmla="*/ 28868 w 1526821"/>
                <a:gd name="connsiteY3" fmla="*/ 28869 h 28869"/>
                <a:gd name="connsiteX4" fmla="*/ 0 w 1526821"/>
                <a:gd name="connsiteY4" fmla="*/ 0 h 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6821" h="28869">
                  <a:moveTo>
                    <a:pt x="0" y="0"/>
                  </a:moveTo>
                  <a:lnTo>
                    <a:pt x="1526821" y="0"/>
                  </a:lnTo>
                  <a:lnTo>
                    <a:pt x="1497952" y="28868"/>
                  </a:lnTo>
                  <a:lnTo>
                    <a:pt x="28868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4A92E211-EBEF-4E62-97FD-46ECC42436DF}"/>
                </a:ext>
              </a:extLst>
            </p:cNvPr>
            <p:cNvSpPr/>
            <p:nvPr userDrawn="1"/>
          </p:nvSpPr>
          <p:spPr>
            <a:xfrm>
              <a:off x="715231" y="6568093"/>
              <a:ext cx="1404932" cy="28868"/>
            </a:xfrm>
            <a:custGeom>
              <a:avLst/>
              <a:gdLst>
                <a:gd name="connsiteX0" fmla="*/ 0 w 1404932"/>
                <a:gd name="connsiteY0" fmla="*/ 0 h 28868"/>
                <a:gd name="connsiteX1" fmla="*/ 1404932 w 1404932"/>
                <a:gd name="connsiteY1" fmla="*/ 0 h 28868"/>
                <a:gd name="connsiteX2" fmla="*/ 1376064 w 1404932"/>
                <a:gd name="connsiteY2" fmla="*/ 28868 h 28868"/>
                <a:gd name="connsiteX3" fmla="*/ 28868 w 1404932"/>
                <a:gd name="connsiteY3" fmla="*/ 28868 h 28868"/>
                <a:gd name="connsiteX4" fmla="*/ 0 w 1404932"/>
                <a:gd name="connsiteY4" fmla="*/ 0 h 2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4932" h="28868">
                  <a:moveTo>
                    <a:pt x="0" y="0"/>
                  </a:moveTo>
                  <a:lnTo>
                    <a:pt x="1404932" y="0"/>
                  </a:lnTo>
                  <a:lnTo>
                    <a:pt x="1376064" y="28868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CC8A63A1-564C-478A-B490-96E1C76014CC}"/>
                </a:ext>
              </a:extLst>
            </p:cNvPr>
            <p:cNvSpPr/>
            <p:nvPr userDrawn="1"/>
          </p:nvSpPr>
          <p:spPr>
            <a:xfrm>
              <a:off x="776977" y="6628235"/>
              <a:ext cx="1283044" cy="29671"/>
            </a:xfrm>
            <a:custGeom>
              <a:avLst/>
              <a:gdLst>
                <a:gd name="connsiteX0" fmla="*/ 1283044 w 1283044"/>
                <a:gd name="connsiteY0" fmla="*/ 0 h 29671"/>
                <a:gd name="connsiteX1" fmla="*/ 1254175 w 1283044"/>
                <a:gd name="connsiteY1" fmla="*/ 28869 h 29671"/>
                <a:gd name="connsiteX2" fmla="*/ 28067 w 1283044"/>
                <a:gd name="connsiteY2" fmla="*/ 29671 h 29671"/>
                <a:gd name="connsiteX3" fmla="*/ 28869 w 1283044"/>
                <a:gd name="connsiteY3" fmla="*/ 28869 h 29671"/>
                <a:gd name="connsiteX4" fmla="*/ 0 w 1283044"/>
                <a:gd name="connsiteY4" fmla="*/ 1 h 29671"/>
                <a:gd name="connsiteX5" fmla="*/ 1283044 w 1283044"/>
                <a:gd name="connsiteY5" fmla="*/ 0 h 2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3044" h="29671">
                  <a:moveTo>
                    <a:pt x="1283044" y="0"/>
                  </a:moveTo>
                  <a:lnTo>
                    <a:pt x="1254175" y="28869"/>
                  </a:lnTo>
                  <a:lnTo>
                    <a:pt x="28067" y="29671"/>
                  </a:lnTo>
                  <a:lnTo>
                    <a:pt x="28869" y="28869"/>
                  </a:lnTo>
                  <a:lnTo>
                    <a:pt x="0" y="1"/>
                  </a:lnTo>
                  <a:lnTo>
                    <a:pt x="128304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162FC41-462F-4E99-AACA-F5B9C804FB14}"/>
                </a:ext>
              </a:extLst>
            </p:cNvPr>
            <p:cNvSpPr/>
            <p:nvPr userDrawn="1"/>
          </p:nvSpPr>
          <p:spPr>
            <a:xfrm>
              <a:off x="837922" y="6689180"/>
              <a:ext cx="1161154" cy="29670"/>
            </a:xfrm>
            <a:custGeom>
              <a:avLst/>
              <a:gdLst>
                <a:gd name="connsiteX0" fmla="*/ 0 w 1161154"/>
                <a:gd name="connsiteY0" fmla="*/ 0 h 29670"/>
                <a:gd name="connsiteX1" fmla="*/ 1161154 w 1161154"/>
                <a:gd name="connsiteY1" fmla="*/ 0 h 29670"/>
                <a:gd name="connsiteX2" fmla="*/ 1132285 w 1161154"/>
                <a:gd name="connsiteY2" fmla="*/ 28868 h 29670"/>
                <a:gd name="connsiteX3" fmla="*/ 28066 w 1161154"/>
                <a:gd name="connsiteY3" fmla="*/ 29670 h 29670"/>
                <a:gd name="connsiteX4" fmla="*/ 28868 w 1161154"/>
                <a:gd name="connsiteY4" fmla="*/ 28868 h 29670"/>
                <a:gd name="connsiteX5" fmla="*/ 0 w 1161154"/>
                <a:gd name="connsiteY5" fmla="*/ 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1154" h="29670">
                  <a:moveTo>
                    <a:pt x="0" y="0"/>
                  </a:moveTo>
                  <a:lnTo>
                    <a:pt x="1161154" y="0"/>
                  </a:lnTo>
                  <a:lnTo>
                    <a:pt x="1132285" y="28868"/>
                  </a:lnTo>
                  <a:lnTo>
                    <a:pt x="28066" y="29670"/>
                  </a:lnTo>
                  <a:lnTo>
                    <a:pt x="28868" y="28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F9B61AC-B03D-4064-9DE6-9818F53F333C}"/>
                </a:ext>
              </a:extLst>
            </p:cNvPr>
            <p:cNvSpPr/>
            <p:nvPr userDrawn="1"/>
          </p:nvSpPr>
          <p:spPr>
            <a:xfrm>
              <a:off x="897263" y="6750124"/>
              <a:ext cx="1040868" cy="28869"/>
            </a:xfrm>
            <a:custGeom>
              <a:avLst/>
              <a:gdLst>
                <a:gd name="connsiteX0" fmla="*/ 0 w 1040868"/>
                <a:gd name="connsiteY0" fmla="*/ 0 h 28869"/>
                <a:gd name="connsiteX1" fmla="*/ 1040868 w 1040868"/>
                <a:gd name="connsiteY1" fmla="*/ 0 h 28869"/>
                <a:gd name="connsiteX2" fmla="*/ 1012000 w 1040868"/>
                <a:gd name="connsiteY2" fmla="*/ 28869 h 28869"/>
                <a:gd name="connsiteX3" fmla="*/ 28868 w 1040868"/>
                <a:gd name="connsiteY3" fmla="*/ 28869 h 28869"/>
                <a:gd name="connsiteX4" fmla="*/ 0 w 1040868"/>
                <a:gd name="connsiteY4" fmla="*/ 0 h 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0868" h="28869">
                  <a:moveTo>
                    <a:pt x="0" y="0"/>
                  </a:moveTo>
                  <a:lnTo>
                    <a:pt x="1040868" y="0"/>
                  </a:lnTo>
                  <a:lnTo>
                    <a:pt x="1012000" y="28869"/>
                  </a:lnTo>
                  <a:lnTo>
                    <a:pt x="28868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104BA00-790F-438D-AC93-117E23CF2099}"/>
                </a:ext>
              </a:extLst>
            </p:cNvPr>
            <p:cNvSpPr/>
            <p:nvPr userDrawn="1"/>
          </p:nvSpPr>
          <p:spPr>
            <a:xfrm>
              <a:off x="958207" y="6811069"/>
              <a:ext cx="918980" cy="28869"/>
            </a:xfrm>
            <a:custGeom>
              <a:avLst/>
              <a:gdLst>
                <a:gd name="connsiteX0" fmla="*/ 0 w 918980"/>
                <a:gd name="connsiteY0" fmla="*/ 0 h 28869"/>
                <a:gd name="connsiteX1" fmla="*/ 918980 w 918980"/>
                <a:gd name="connsiteY1" fmla="*/ 0 h 28869"/>
                <a:gd name="connsiteX2" fmla="*/ 890112 w 918980"/>
                <a:gd name="connsiteY2" fmla="*/ 28868 h 28869"/>
                <a:gd name="connsiteX3" fmla="*/ 28869 w 918980"/>
                <a:gd name="connsiteY3" fmla="*/ 28869 h 28869"/>
                <a:gd name="connsiteX4" fmla="*/ 0 w 918980"/>
                <a:gd name="connsiteY4" fmla="*/ 0 h 2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8980" h="28869">
                  <a:moveTo>
                    <a:pt x="0" y="0"/>
                  </a:moveTo>
                  <a:lnTo>
                    <a:pt x="918980" y="0"/>
                  </a:lnTo>
                  <a:lnTo>
                    <a:pt x="890112" y="28868"/>
                  </a:lnTo>
                  <a:lnTo>
                    <a:pt x="28869" y="288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</p:grp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788A3CD7-1915-41CF-9FB5-E6FEDCA8F1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45245" y="4351322"/>
            <a:ext cx="806606" cy="793751"/>
          </a:xfrm>
          <a:custGeom>
            <a:avLst/>
            <a:gdLst>
              <a:gd name="connsiteX0" fmla="*/ 1062720 w 1062720"/>
              <a:gd name="connsiteY0" fmla="*/ 0 h 1062720"/>
              <a:gd name="connsiteX1" fmla="*/ 1062720 w 1062720"/>
              <a:gd name="connsiteY1" fmla="*/ 1062720 h 1062720"/>
              <a:gd name="connsiteX2" fmla="*/ 0 w 1062720"/>
              <a:gd name="connsiteY2" fmla="*/ 1062720 h 1062720"/>
              <a:gd name="connsiteX3" fmla="*/ 1062720 w 1062720"/>
              <a:gd name="connsiteY3" fmla="*/ 0 h 106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2720" h="1062720">
                <a:moveTo>
                  <a:pt x="1062720" y="0"/>
                </a:moveTo>
                <a:lnTo>
                  <a:pt x="1062720" y="1062720"/>
                </a:lnTo>
                <a:lnTo>
                  <a:pt x="0" y="1062720"/>
                </a:lnTo>
                <a:lnTo>
                  <a:pt x="106272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63" name="Freeform: Shape 162">
            <a:extLst>
              <a:ext uri="{FF2B5EF4-FFF2-40B4-BE49-F238E27FC236}">
                <a16:creationId xmlns:a16="http://schemas.microsoft.com/office/drawing/2014/main" id="{FEE07693-1822-40D4-88A4-0F663C787D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76660" y="5121849"/>
            <a:ext cx="689235" cy="21652"/>
          </a:xfrm>
          <a:custGeom>
            <a:avLst/>
            <a:gdLst>
              <a:gd name="connsiteX0" fmla="*/ 0 w 918980"/>
              <a:gd name="connsiteY0" fmla="*/ 0 h 28869"/>
              <a:gd name="connsiteX1" fmla="*/ 918980 w 918980"/>
              <a:gd name="connsiteY1" fmla="*/ 0 h 28869"/>
              <a:gd name="connsiteX2" fmla="*/ 890112 w 918980"/>
              <a:gd name="connsiteY2" fmla="*/ 28868 h 28869"/>
              <a:gd name="connsiteX3" fmla="*/ 28869 w 918980"/>
              <a:gd name="connsiteY3" fmla="*/ 28869 h 28869"/>
              <a:gd name="connsiteX4" fmla="*/ 0 w 918980"/>
              <a:gd name="connsiteY4" fmla="*/ 0 h 28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8980" h="28869">
                <a:moveTo>
                  <a:pt x="0" y="0"/>
                </a:moveTo>
                <a:lnTo>
                  <a:pt x="918980" y="0"/>
                </a:lnTo>
                <a:lnTo>
                  <a:pt x="890112" y="28868"/>
                </a:lnTo>
                <a:lnTo>
                  <a:pt x="28869" y="288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8142DAF-BE54-C239-5685-89D55E027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0330" y="672084"/>
            <a:ext cx="5917326" cy="1529506"/>
          </a:xfrm>
        </p:spPr>
        <p:txBody>
          <a:bodyPr anchor="t" anchorCtr="0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A2EBD71-EB16-773C-A6CB-C6E1259AE70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640330" y="2444293"/>
            <a:ext cx="2245995" cy="2254898"/>
          </a:xfrm>
        </p:spPr>
        <p:txBody>
          <a:bodyPr>
            <a:normAutofit/>
          </a:bodyPr>
          <a:lstStyle>
            <a:lvl1pPr marL="214313" indent="-214313">
              <a:lnSpc>
                <a:spcPts val="1500"/>
              </a:lnSpc>
              <a:buFont typeface="Arial" panose="020B0604020202020204" pitchFamily="34" charset="0"/>
              <a:buChar char="•"/>
              <a:defRPr sz="1350"/>
            </a:lvl1pPr>
            <a:lvl2pPr>
              <a:lnSpc>
                <a:spcPts val="1500"/>
              </a:lnSpc>
              <a:defRPr sz="1350"/>
            </a:lvl2pPr>
            <a:lvl3pPr>
              <a:lnSpc>
                <a:spcPts val="1500"/>
              </a:lnSpc>
              <a:defRPr sz="1350"/>
            </a:lvl3pPr>
            <a:lvl4pPr>
              <a:lnSpc>
                <a:spcPts val="1500"/>
              </a:lnSpc>
              <a:defRPr sz="1350"/>
            </a:lvl4pPr>
            <a:lvl5pPr>
              <a:lnSpc>
                <a:spcPts val="1500"/>
              </a:lnSpc>
              <a:defRPr sz="13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6944BE1-9937-7EA2-AA56-336B8D5CA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119824" y="2440306"/>
            <a:ext cx="3435066" cy="2254898"/>
          </a:xfrm>
        </p:spPr>
        <p:txBody>
          <a:bodyPr>
            <a:normAutofit/>
          </a:bodyPr>
          <a:lstStyle>
            <a:lvl1pPr marL="0" indent="0">
              <a:lnSpc>
                <a:spcPts val="1500"/>
              </a:lnSpc>
              <a:buNone/>
              <a:defRPr sz="1350"/>
            </a:lvl1pPr>
            <a:lvl2pPr marL="342900">
              <a:lnSpc>
                <a:spcPts val="1500"/>
              </a:lnSpc>
              <a:defRPr sz="1350"/>
            </a:lvl2pPr>
            <a:lvl3pPr marL="685800">
              <a:lnSpc>
                <a:spcPts val="1500"/>
              </a:lnSpc>
              <a:defRPr sz="1350"/>
            </a:lvl3pPr>
            <a:lvl4pPr marL="1028700">
              <a:lnSpc>
                <a:spcPts val="1500"/>
              </a:lnSpc>
              <a:defRPr sz="1350"/>
            </a:lvl4pPr>
            <a:lvl5pPr marL="1371600">
              <a:lnSpc>
                <a:spcPts val="1500"/>
              </a:lnSpc>
              <a:defRPr sz="13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9" name="Date Placeholder 3">
            <a:extLst>
              <a:ext uri="{FF2B5EF4-FFF2-40B4-BE49-F238E27FC236}">
                <a16:creationId xmlns:a16="http://schemas.microsoft.com/office/drawing/2014/main" id="{5A56B3AA-5CA2-4004-8F95-11FD7B895D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42792" y="4764882"/>
            <a:ext cx="822960" cy="27384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210" name="Footer Placeholder 4">
            <a:extLst>
              <a:ext uri="{FF2B5EF4-FFF2-40B4-BE49-F238E27FC236}">
                <a16:creationId xmlns:a16="http://schemas.microsoft.com/office/drawing/2014/main" id="{07D92F37-472D-4CCB-AA97-FA42E5607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81621" y="4762500"/>
            <a:ext cx="1714500" cy="27384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11" name="Slide Number Placeholder 5">
            <a:extLst>
              <a:ext uri="{FF2B5EF4-FFF2-40B4-BE49-F238E27FC236}">
                <a16:creationId xmlns:a16="http://schemas.microsoft.com/office/drawing/2014/main" id="{C0E89FFF-230F-4CBA-A6BC-D887B3FFA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11990" y="4767263"/>
            <a:ext cx="342900" cy="27384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611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7104">
          <p15:clr>
            <a:srgbClr val="FBAE40"/>
          </p15:clr>
        </p15:guide>
        <p15:guide id="3" pos="73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5908" y="673894"/>
            <a:ext cx="5705171" cy="1522475"/>
          </a:xfrm>
        </p:spPr>
        <p:txBody>
          <a:bodyPr anchor="t" anchorCtr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1CF25F4-1889-5FE4-9BE0-413C509639D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58503" y="6909"/>
            <a:ext cx="1522475" cy="3637908"/>
          </a:xfrm>
          <a:custGeom>
            <a:avLst/>
            <a:gdLst>
              <a:gd name="connsiteX0" fmla="*/ 0 w 2029967"/>
              <a:gd name="connsiteY0" fmla="*/ 0 h 4850544"/>
              <a:gd name="connsiteX1" fmla="*/ 2029967 w 2029967"/>
              <a:gd name="connsiteY1" fmla="*/ 0 h 4850544"/>
              <a:gd name="connsiteX2" fmla="*/ 2029967 w 2029967"/>
              <a:gd name="connsiteY2" fmla="*/ 4850544 h 4850544"/>
              <a:gd name="connsiteX3" fmla="*/ 2025599 w 2029967"/>
              <a:gd name="connsiteY3" fmla="*/ 4850544 h 4850544"/>
              <a:gd name="connsiteX4" fmla="*/ 2 w 2029967"/>
              <a:gd name="connsiteY4" fmla="*/ 2824947 h 4850544"/>
              <a:gd name="connsiteX5" fmla="*/ 2 w 2029967"/>
              <a:gd name="connsiteY5" fmla="*/ 4850544 h 4850544"/>
              <a:gd name="connsiteX6" fmla="*/ 0 w 2029967"/>
              <a:gd name="connsiteY6" fmla="*/ 4850544 h 485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9967" h="4850544">
                <a:moveTo>
                  <a:pt x="0" y="0"/>
                </a:moveTo>
                <a:lnTo>
                  <a:pt x="2029967" y="0"/>
                </a:lnTo>
                <a:lnTo>
                  <a:pt x="2029967" y="4850544"/>
                </a:lnTo>
                <a:lnTo>
                  <a:pt x="2025599" y="4850544"/>
                </a:lnTo>
                <a:lnTo>
                  <a:pt x="2" y="2824947"/>
                </a:lnTo>
                <a:lnTo>
                  <a:pt x="2" y="4850544"/>
                </a:lnTo>
                <a:lnTo>
                  <a:pt x="0" y="485054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insert pictur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CC28908-2548-441C-BE9D-8728E1FC84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8504" y="3647450"/>
            <a:ext cx="1522476" cy="15036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31DC170-FB16-45F8-B62C-DCAB2B9AC3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04" y="4398903"/>
            <a:ext cx="1514474" cy="749588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DE2E4A5-BFB0-8F89-C606-A1581EB9FC6E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852964" y="2444353"/>
            <a:ext cx="5711456" cy="2233613"/>
          </a:xfrm>
        </p:spPr>
        <p:txBody>
          <a:bodyPr>
            <a:normAutofit/>
          </a:bodyPr>
          <a:lstStyle>
            <a:lvl1pPr marL="214313" indent="-214313">
              <a:lnSpc>
                <a:spcPts val="1500"/>
              </a:lnSpc>
              <a:buFont typeface="Arial" panose="020B0604020202020204" pitchFamily="34" charset="0"/>
              <a:buChar char="•"/>
              <a:defRPr sz="1350">
                <a:solidFill>
                  <a:schemeClr val="tx2"/>
                </a:solidFill>
              </a:defRPr>
            </a:lvl1pPr>
            <a:lvl2pPr marL="514350">
              <a:lnSpc>
                <a:spcPts val="1500"/>
              </a:lnSpc>
              <a:defRPr sz="1350">
                <a:solidFill>
                  <a:schemeClr val="tx2"/>
                </a:solidFill>
              </a:defRPr>
            </a:lvl2pPr>
            <a:lvl3pPr marL="857250">
              <a:lnSpc>
                <a:spcPts val="1500"/>
              </a:lnSpc>
              <a:defRPr sz="1350">
                <a:solidFill>
                  <a:schemeClr val="tx2"/>
                </a:solidFill>
              </a:defRPr>
            </a:lvl3pPr>
            <a:lvl4pPr marL="1200150">
              <a:lnSpc>
                <a:spcPts val="1500"/>
              </a:lnSpc>
              <a:defRPr sz="1350">
                <a:solidFill>
                  <a:schemeClr val="tx2"/>
                </a:solidFill>
              </a:defRPr>
            </a:lvl4pPr>
            <a:lvl5pPr marL="1543050">
              <a:lnSpc>
                <a:spcPts val="1500"/>
              </a:lnSpc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Date Placeholder 3">
            <a:extLst>
              <a:ext uri="{FF2B5EF4-FFF2-40B4-BE49-F238E27FC236}">
                <a16:creationId xmlns:a16="http://schemas.microsoft.com/office/drawing/2014/main" id="{E2B0C6B8-E2CB-460E-BBC8-AC4339C89D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52965" y="4764882"/>
            <a:ext cx="82296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70" name="Footer Placeholder 4">
            <a:extLst>
              <a:ext uri="{FF2B5EF4-FFF2-40B4-BE49-F238E27FC236}">
                <a16:creationId xmlns:a16="http://schemas.microsoft.com/office/drawing/2014/main" id="{433844D3-0FDA-4C97-9B21-5021A38E4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91473" y="4762500"/>
            <a:ext cx="17145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1" name="Slide Number Placeholder 5">
            <a:extLst>
              <a:ext uri="{FF2B5EF4-FFF2-40B4-BE49-F238E27FC236}">
                <a16:creationId xmlns:a16="http://schemas.microsoft.com/office/drawing/2014/main" id="{EC059538-F80F-46C9-80EB-AC9B56DD0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1520" y="4767263"/>
            <a:ext cx="3429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78F81CD-65D4-6CA1-E2C2-34DF58B566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750" y="0"/>
            <a:ext cx="761988" cy="5143500"/>
            <a:chOff x="-1000" y="0"/>
            <a:chExt cx="1015984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19657A-6BE9-88F7-BE4C-6BF3C13F7E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4828032"/>
              <a:ext cx="1014984" cy="20299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BB2BB8E-26BE-8FBF-1C62-4F42858193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2833299"/>
              <a:ext cx="1014984" cy="20299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864BEFA-BF82-8BAF-1977-518DCAB0F3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014984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4C6E7FC-E03B-5EE2-7126-8CC1FBCB9D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-462818" y="552957"/>
              <a:ext cx="1828800" cy="905164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59957EF-0F68-275E-1FFC-87388D7174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2029863"/>
              <a:ext cx="1014984" cy="8129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CECEEA3-55C1-1632-4F14-7E57A80266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0800000">
              <a:off x="100582" y="2932749"/>
              <a:ext cx="914400" cy="1828800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6290E86-B21F-0C88-099F-07B046CA1D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457200" y="5380762"/>
              <a:ext cx="1828800" cy="914400"/>
            </a:xfrm>
            <a:prstGeom prst="rect">
              <a:avLst/>
            </a:prstGeom>
          </p:spPr>
        </p:pic>
      </p:grpSp>
      <p:sp>
        <p:nvSpPr>
          <p:cNvPr id="26" name="Rectangle 23">
            <a:extLst>
              <a:ext uri="{FF2B5EF4-FFF2-40B4-BE49-F238E27FC236}">
                <a16:creationId xmlns:a16="http://schemas.microsoft.com/office/drawing/2014/main" id="{E489F066-AA0F-D3C7-739B-15808100E7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8504" y="2125619"/>
            <a:ext cx="1522476" cy="1522476"/>
          </a:xfrm>
          <a:custGeom>
            <a:avLst/>
            <a:gdLst>
              <a:gd name="connsiteX0" fmla="*/ 0 w 2029968"/>
              <a:gd name="connsiteY0" fmla="*/ 0 h 2029968"/>
              <a:gd name="connsiteX1" fmla="*/ 2029968 w 2029968"/>
              <a:gd name="connsiteY1" fmla="*/ 0 h 2029968"/>
              <a:gd name="connsiteX2" fmla="*/ 2029968 w 2029968"/>
              <a:gd name="connsiteY2" fmla="*/ 2029968 h 2029968"/>
              <a:gd name="connsiteX3" fmla="*/ 0 w 2029968"/>
              <a:gd name="connsiteY3" fmla="*/ 2029968 h 2029968"/>
              <a:gd name="connsiteX4" fmla="*/ 0 w 2029968"/>
              <a:gd name="connsiteY4" fmla="*/ 0 h 2029968"/>
              <a:gd name="connsiteX0" fmla="*/ 0 w 2029968"/>
              <a:gd name="connsiteY0" fmla="*/ 0 h 2029968"/>
              <a:gd name="connsiteX1" fmla="*/ 2029968 w 2029968"/>
              <a:gd name="connsiteY1" fmla="*/ 2029968 h 2029968"/>
              <a:gd name="connsiteX2" fmla="*/ 0 w 2029968"/>
              <a:gd name="connsiteY2" fmla="*/ 2029968 h 2029968"/>
              <a:gd name="connsiteX3" fmla="*/ 0 w 2029968"/>
              <a:gd name="connsiteY3" fmla="*/ 0 h 202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9968" h="2029968">
                <a:moveTo>
                  <a:pt x="0" y="0"/>
                </a:moveTo>
                <a:lnTo>
                  <a:pt x="2029968" y="2029968"/>
                </a:lnTo>
                <a:lnTo>
                  <a:pt x="0" y="20299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4082450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7104">
          <p15:clr>
            <a:srgbClr val="FBAE40"/>
          </p15:clr>
        </p15:guide>
        <p15:guide id="3" pos="739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72085"/>
            <a:ext cx="8001000" cy="994172"/>
          </a:xfrm>
        </p:spPr>
        <p:txBody>
          <a:bodyPr anchor="t" anchorCtr="0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AB92D86A-5036-415A-B056-A55CB2E0C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8382762" y="0"/>
            <a:ext cx="761238" cy="761238"/>
          </a:xfrm>
          <a:custGeom>
            <a:avLst/>
            <a:gdLst>
              <a:gd name="connsiteX0" fmla="*/ 0 w 2029968"/>
              <a:gd name="connsiteY0" fmla="*/ 0 h 2029968"/>
              <a:gd name="connsiteX1" fmla="*/ 2029968 w 2029968"/>
              <a:gd name="connsiteY1" fmla="*/ 0 h 2029968"/>
              <a:gd name="connsiteX2" fmla="*/ 2029968 w 2029968"/>
              <a:gd name="connsiteY2" fmla="*/ 2029968 h 2029968"/>
              <a:gd name="connsiteX3" fmla="*/ 0 w 2029968"/>
              <a:gd name="connsiteY3" fmla="*/ 2029968 h 2029968"/>
              <a:gd name="connsiteX4" fmla="*/ 0 w 2029968"/>
              <a:gd name="connsiteY4" fmla="*/ 0 h 2029968"/>
              <a:gd name="connsiteX0" fmla="*/ 0 w 2029968"/>
              <a:gd name="connsiteY0" fmla="*/ 0 h 2029968"/>
              <a:gd name="connsiteX1" fmla="*/ 2029968 w 2029968"/>
              <a:gd name="connsiteY1" fmla="*/ 2029968 h 2029968"/>
              <a:gd name="connsiteX2" fmla="*/ 0 w 2029968"/>
              <a:gd name="connsiteY2" fmla="*/ 2029968 h 2029968"/>
              <a:gd name="connsiteX3" fmla="*/ 0 w 2029968"/>
              <a:gd name="connsiteY3" fmla="*/ 0 h 202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9968" h="2029968">
                <a:moveTo>
                  <a:pt x="0" y="0"/>
                </a:moveTo>
                <a:lnTo>
                  <a:pt x="2029968" y="2029968"/>
                </a:lnTo>
                <a:lnTo>
                  <a:pt x="0" y="20299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0FC509-0D49-9500-59C9-DAE0A699F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812898"/>
            <a:ext cx="3208735" cy="2803156"/>
          </a:xfrm>
        </p:spPr>
        <p:txBody>
          <a:bodyPr vert="horz" lIns="91440" tIns="45720" rIns="91440" bIns="45720" rtlCol="0">
            <a:normAutofit/>
          </a:bodyPr>
          <a:lstStyle>
            <a:lvl1pPr>
              <a:spcBef>
                <a:spcPts val="0"/>
              </a:spcBef>
              <a:spcAft>
                <a:spcPts val="900"/>
              </a:spcAft>
              <a:defRPr lang="en-US" sz="1350" smtClean="0"/>
            </a:lvl1pPr>
            <a:lvl2pPr>
              <a:spcBef>
                <a:spcPts val="0"/>
              </a:spcBef>
              <a:spcAft>
                <a:spcPts val="900"/>
              </a:spcAft>
              <a:defRPr lang="en-US" sz="1350" smtClean="0"/>
            </a:lvl2pPr>
            <a:lvl3pPr>
              <a:spcBef>
                <a:spcPts val="0"/>
              </a:spcBef>
              <a:spcAft>
                <a:spcPts val="900"/>
              </a:spcAft>
              <a:defRPr lang="en-US" sz="1350" smtClean="0"/>
            </a:lvl3pPr>
            <a:lvl4pPr>
              <a:spcBef>
                <a:spcPts val="0"/>
              </a:spcBef>
              <a:spcAft>
                <a:spcPts val="900"/>
              </a:spcAft>
              <a:defRPr lang="en-US" sz="1350" smtClean="0"/>
            </a:lvl4pPr>
            <a:lvl5pPr>
              <a:spcBef>
                <a:spcPts val="0"/>
              </a:spcBef>
              <a:spcAft>
                <a:spcPts val="900"/>
              </a:spcAft>
              <a:defRPr lang="en-US" sz="1350"/>
            </a:lvl5pPr>
          </a:lstStyle>
          <a:p>
            <a:pPr lvl="0"/>
            <a:r>
              <a:rPr lang="en-US" dirty="0"/>
              <a:t>Click to add text </a:t>
            </a:r>
          </a:p>
          <a:p>
            <a:pPr marL="514350" lvl="1" indent="-171450"/>
            <a:r>
              <a:rPr lang="en-US" dirty="0"/>
              <a:t>Second level</a:t>
            </a:r>
          </a:p>
          <a:p>
            <a:pPr marL="857250" lvl="2" indent="-171450"/>
            <a:r>
              <a:rPr lang="en-US" dirty="0"/>
              <a:t>Third level</a:t>
            </a:r>
          </a:p>
          <a:p>
            <a:pPr marL="1200150" lvl="3" indent="-171450"/>
            <a:r>
              <a:rPr lang="en-US" dirty="0"/>
              <a:t>Fourth level</a:t>
            </a:r>
          </a:p>
          <a:p>
            <a:pPr marL="1543050" lvl="4" indent="-171450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7113F543-A373-5951-EBF3-7E283EE52F0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3931104" y="1813323"/>
            <a:ext cx="4641397" cy="28027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icon to insert tab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D4C80AE-01F3-AAB6-99EF-DB1B5934CF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5582" y="4764882"/>
            <a:ext cx="82296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0241B24-8629-6BC2-C72F-A156F0624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087" y="4762500"/>
            <a:ext cx="17145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7FBBF9-1C14-3371-F0AC-507FFCAB3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6131" y="4767263"/>
            <a:ext cx="3429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6730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CA106-0FC3-4FE9-9338-4AC3D1560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4431" y="672083"/>
            <a:ext cx="7399905" cy="1018605"/>
          </a:xfrm>
        </p:spPr>
        <p:txBody>
          <a:bodyPr anchor="t" anchorCtr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F1898E-3E74-4E43-A202-1A664022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761238" cy="5143500"/>
            <a:chOff x="0" y="0"/>
            <a:chExt cx="1014984" cy="6858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14776F7-F8A5-4235-8C8D-17F0E4F45B03}"/>
                </a:ext>
              </a:extLst>
            </p:cNvPr>
            <p:cNvSpPr/>
            <p:nvPr userDrawn="1"/>
          </p:nvSpPr>
          <p:spPr>
            <a:xfrm>
              <a:off x="0" y="4828032"/>
              <a:ext cx="1014984" cy="20299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F301899-34C1-47B4-B5CD-F77BA341C0F9}"/>
                </a:ext>
              </a:extLst>
            </p:cNvPr>
            <p:cNvSpPr/>
            <p:nvPr userDrawn="1"/>
          </p:nvSpPr>
          <p:spPr>
            <a:xfrm>
              <a:off x="0" y="2833299"/>
              <a:ext cx="1014984" cy="202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66E9363-03B7-439D-8B5E-0665E48F046E}"/>
                </a:ext>
              </a:extLst>
            </p:cNvPr>
            <p:cNvSpPr/>
            <p:nvPr userDrawn="1"/>
          </p:nvSpPr>
          <p:spPr>
            <a:xfrm>
              <a:off x="0" y="0"/>
              <a:ext cx="1014984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32F5F5-1688-44BD-B071-A62C04824FB8}"/>
                </a:ext>
              </a:extLst>
            </p:cNvPr>
            <p:cNvSpPr/>
            <p:nvPr userDrawn="1"/>
          </p:nvSpPr>
          <p:spPr>
            <a:xfrm>
              <a:off x="0" y="2029863"/>
              <a:ext cx="1014984" cy="81295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89FF8F5-F7B8-46B0-BB03-FE972A6832E7}"/>
                </a:ext>
              </a:extLst>
            </p:cNvPr>
            <p:cNvSpPr/>
            <p:nvPr userDrawn="1"/>
          </p:nvSpPr>
          <p:spPr>
            <a:xfrm rot="10800000">
              <a:off x="100582" y="2936725"/>
              <a:ext cx="914400" cy="1828800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31EB8EE7-3843-4CA8-879D-5D985DAA0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-457200" y="5416459"/>
              <a:ext cx="1828800" cy="914400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5FF0EEFD-0038-4A2F-AD3B-01A98EFF5C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-457200" y="563329"/>
              <a:ext cx="1828800" cy="914400"/>
            </a:xfrm>
            <a:prstGeom prst="rect">
              <a:avLst/>
            </a:prstGeom>
          </p:spPr>
        </p:pic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50232-76AA-C9E3-F846-8DB1B44E5AF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164431" y="1861456"/>
            <a:ext cx="4858464" cy="27268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350">
                <a:solidFill>
                  <a:schemeClr val="bg1"/>
                </a:solidFill>
              </a:defRPr>
            </a:lvl1pPr>
            <a:lvl2pPr marL="342900">
              <a:lnSpc>
                <a:spcPct val="100000"/>
              </a:lnSpc>
              <a:spcAft>
                <a:spcPts val="450"/>
              </a:spcAft>
              <a:defRPr sz="1350">
                <a:solidFill>
                  <a:schemeClr val="bg1"/>
                </a:solidFill>
              </a:defRPr>
            </a:lvl2pPr>
            <a:lvl3pPr marL="685800">
              <a:lnSpc>
                <a:spcPct val="100000"/>
              </a:lnSpc>
              <a:spcAft>
                <a:spcPts val="450"/>
              </a:spcAft>
              <a:defRPr sz="1350">
                <a:solidFill>
                  <a:schemeClr val="bg1"/>
                </a:solidFill>
              </a:defRPr>
            </a:lvl3pPr>
            <a:lvl4pPr marL="1028700">
              <a:lnSpc>
                <a:spcPct val="100000"/>
              </a:lnSpc>
              <a:spcAft>
                <a:spcPts val="450"/>
              </a:spcAft>
              <a:defRPr sz="1350">
                <a:solidFill>
                  <a:schemeClr val="bg1"/>
                </a:solidFill>
              </a:defRPr>
            </a:lvl4pPr>
            <a:lvl5pPr marL="1371600">
              <a:lnSpc>
                <a:spcPct val="100000"/>
              </a:lnSpc>
              <a:spcAft>
                <a:spcPts val="450"/>
              </a:spcAft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7A04978-5D2C-BBF1-9C05-C527176190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9543" y="1861455"/>
            <a:ext cx="2284793" cy="2819400"/>
          </a:xfrm>
        </p:spPr>
        <p:txBody>
          <a:bodyPr>
            <a:normAutofit/>
          </a:bodyPr>
          <a:lstStyle>
            <a:lvl1pPr marL="257175" indent="-257175">
              <a:spcAft>
                <a:spcPts val="450"/>
              </a:spcAft>
              <a:buFont typeface="+mj-lt"/>
              <a:buAutoNum type="arabicPeriod"/>
              <a:defRPr sz="1350">
                <a:solidFill>
                  <a:schemeClr val="bg1"/>
                </a:solidFill>
              </a:defRPr>
            </a:lvl1pPr>
            <a:lvl2pPr marL="600075" indent="-257175">
              <a:spcAft>
                <a:spcPts val="450"/>
              </a:spcAft>
              <a:buFont typeface="+mj-lt"/>
              <a:buAutoNum type="alphaLcPeriod"/>
              <a:defRPr sz="1350">
                <a:solidFill>
                  <a:schemeClr val="bg1"/>
                </a:solidFill>
              </a:defRPr>
            </a:lvl2pPr>
            <a:lvl3pPr marL="942975" indent="-257175">
              <a:spcAft>
                <a:spcPts val="450"/>
              </a:spcAft>
              <a:buFont typeface="+mj-lt"/>
              <a:buAutoNum type="arabicParenR"/>
              <a:defRPr sz="1350">
                <a:solidFill>
                  <a:schemeClr val="bg1"/>
                </a:solidFill>
              </a:defRPr>
            </a:lvl3pPr>
            <a:lvl4pPr marL="1285875" indent="-257175">
              <a:spcAft>
                <a:spcPts val="450"/>
              </a:spcAft>
              <a:buFont typeface="+mj-lt"/>
              <a:buAutoNum type="alphaLcParenR"/>
              <a:defRPr sz="1350">
                <a:solidFill>
                  <a:schemeClr val="bg1"/>
                </a:solidFill>
              </a:defRPr>
            </a:lvl4pPr>
            <a:lvl5pPr marL="1628775" indent="-257175">
              <a:spcAft>
                <a:spcPts val="450"/>
              </a:spcAft>
              <a:buFont typeface="+mj-lt"/>
              <a:buAutoNum type="romanLcPeriod"/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Date Placeholder 3">
            <a:extLst>
              <a:ext uri="{FF2B5EF4-FFF2-40B4-BE49-F238E27FC236}">
                <a16:creationId xmlns:a16="http://schemas.microsoft.com/office/drawing/2014/main" id="{41C57AEB-9E33-4F77-9F58-DB0D1B9787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65860" y="4764882"/>
            <a:ext cx="82296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64" name="Footer Placeholder 4">
            <a:extLst>
              <a:ext uri="{FF2B5EF4-FFF2-40B4-BE49-F238E27FC236}">
                <a16:creationId xmlns:a16="http://schemas.microsoft.com/office/drawing/2014/main" id="{182F895D-C48A-41AA-9DE6-43A17B7E0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8395" y="4762500"/>
            <a:ext cx="17145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4C15BF58-30D9-4A0E-8506-1CD777B0F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42471" y="4767263"/>
            <a:ext cx="3429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307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117" y="672085"/>
            <a:ext cx="7999384" cy="994172"/>
          </a:xfrm>
        </p:spPr>
        <p:txBody>
          <a:bodyPr anchor="t" anchorCtr="0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E06194BC-6453-CA18-2623-B07F3A5D4E92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571500" y="1813323"/>
            <a:ext cx="7999384" cy="2758676"/>
          </a:xfrm>
        </p:spPr>
        <p:txBody>
          <a:bodyPr/>
          <a:lstStyle>
            <a:lvl1pPr>
              <a:defRPr/>
            </a:lvl1pPr>
          </a:lstStyle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icon to insert table</a:t>
            </a:r>
          </a:p>
          <a:p>
            <a:endParaRPr lang="en-US" dirty="0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AB92D86A-5036-415A-B056-A55CB2E0C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8382762" y="0"/>
            <a:ext cx="761238" cy="761238"/>
          </a:xfrm>
          <a:custGeom>
            <a:avLst/>
            <a:gdLst>
              <a:gd name="connsiteX0" fmla="*/ 0 w 2029968"/>
              <a:gd name="connsiteY0" fmla="*/ 0 h 2029968"/>
              <a:gd name="connsiteX1" fmla="*/ 2029968 w 2029968"/>
              <a:gd name="connsiteY1" fmla="*/ 0 h 2029968"/>
              <a:gd name="connsiteX2" fmla="*/ 2029968 w 2029968"/>
              <a:gd name="connsiteY2" fmla="*/ 2029968 h 2029968"/>
              <a:gd name="connsiteX3" fmla="*/ 0 w 2029968"/>
              <a:gd name="connsiteY3" fmla="*/ 2029968 h 2029968"/>
              <a:gd name="connsiteX4" fmla="*/ 0 w 2029968"/>
              <a:gd name="connsiteY4" fmla="*/ 0 h 2029968"/>
              <a:gd name="connsiteX0" fmla="*/ 0 w 2029968"/>
              <a:gd name="connsiteY0" fmla="*/ 0 h 2029968"/>
              <a:gd name="connsiteX1" fmla="*/ 2029968 w 2029968"/>
              <a:gd name="connsiteY1" fmla="*/ 2029968 h 2029968"/>
              <a:gd name="connsiteX2" fmla="*/ 0 w 2029968"/>
              <a:gd name="connsiteY2" fmla="*/ 2029968 h 2029968"/>
              <a:gd name="connsiteX3" fmla="*/ 0 w 2029968"/>
              <a:gd name="connsiteY3" fmla="*/ 0 h 202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9968" h="2029968">
                <a:moveTo>
                  <a:pt x="0" y="0"/>
                </a:moveTo>
                <a:lnTo>
                  <a:pt x="2029968" y="2029968"/>
                </a:lnTo>
                <a:lnTo>
                  <a:pt x="0" y="20299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3A465A0-88AA-B50B-92D8-3A54928329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5582" y="4764882"/>
            <a:ext cx="82296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195F626-7C08-9907-6A85-922BE6AA0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087" y="4762500"/>
            <a:ext cx="17145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BAD34A-4F3F-C89B-BBBC-E7740F414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6131" y="4767263"/>
            <a:ext cx="3429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58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over Content" userDrawn="1">
  <p:cSld name="Title, Content over Content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4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82287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4"/>
          <p:cNvSpPr txBox="1">
            <a:spLocks noGrp="1"/>
          </p:cNvSpPr>
          <p:nvPr>
            <p:ph type="body" idx="2"/>
          </p:nvPr>
        </p:nvSpPr>
        <p:spPr>
          <a:xfrm>
            <a:off x="457172" y="2761547"/>
            <a:ext cx="82287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11F167C5-F157-4CA9-A6BC-CE7C546A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nt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11C2927-0A13-DC57-A83B-B8DB787A48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5132319" cy="5143500"/>
            <a:chOff x="0" y="0"/>
            <a:chExt cx="6843092" cy="6858000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0685D98A-CA5A-4C48-9AEB-4C1A201237A1}"/>
                </a:ext>
              </a:extLst>
            </p:cNvPr>
            <p:cNvSpPr/>
            <p:nvPr userDrawn="1"/>
          </p:nvSpPr>
          <p:spPr>
            <a:xfrm>
              <a:off x="2021206" y="4828032"/>
              <a:ext cx="2029968" cy="202996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F97041-3EE3-4F17-990B-3AC264934EF0}"/>
                </a:ext>
              </a:extLst>
            </p:cNvPr>
            <p:cNvSpPr/>
            <p:nvPr userDrawn="1"/>
          </p:nvSpPr>
          <p:spPr>
            <a:xfrm>
              <a:off x="0" y="0"/>
              <a:ext cx="2029968" cy="2029968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1DA30E2-82DB-4AA1-B134-9482F5CD7689}"/>
                </a:ext>
              </a:extLst>
            </p:cNvPr>
            <p:cNvSpPr/>
            <p:nvPr userDrawn="1"/>
          </p:nvSpPr>
          <p:spPr>
            <a:xfrm>
              <a:off x="2457970" y="1686431"/>
              <a:ext cx="1828800" cy="1828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502070B-3F7D-436A-849C-FB64175E8B45}"/>
                </a:ext>
              </a:extLst>
            </p:cNvPr>
            <p:cNvSpPr/>
            <p:nvPr userDrawn="1"/>
          </p:nvSpPr>
          <p:spPr>
            <a:xfrm>
              <a:off x="0" y="6108192"/>
              <a:ext cx="2029968" cy="7498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" name="Rectangle 9">
              <a:extLst>
                <a:ext uri="{FF2B5EF4-FFF2-40B4-BE49-F238E27FC236}">
                  <a16:creationId xmlns:a16="http://schemas.microsoft.com/office/drawing/2014/main" id="{675AAC8A-F8AB-44A3-9748-96464E9E0B6B}"/>
                </a:ext>
              </a:extLst>
            </p:cNvPr>
            <p:cNvSpPr/>
            <p:nvPr userDrawn="1"/>
          </p:nvSpPr>
          <p:spPr>
            <a:xfrm>
              <a:off x="4054172" y="4069080"/>
              <a:ext cx="2788920" cy="2788920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AC3F6810-4D95-4C6E-A30A-459BAD7510FE}"/>
                </a:ext>
              </a:extLst>
            </p:cNvPr>
            <p:cNvGrpSpPr/>
            <p:nvPr userDrawn="1"/>
          </p:nvGrpSpPr>
          <p:grpSpPr>
            <a:xfrm>
              <a:off x="23853" y="2101527"/>
              <a:ext cx="1920240" cy="1920240"/>
              <a:chOff x="5361924" y="7472790"/>
              <a:chExt cx="1828800" cy="1828800"/>
            </a:xfrm>
          </p:grpSpPr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81973B3A-7185-45FB-A2E6-A7BDE6414DF3}"/>
                  </a:ext>
                </a:extLst>
              </p:cNvPr>
              <p:cNvGrpSpPr/>
              <p:nvPr userDrawn="1"/>
            </p:nvGrpSpPr>
            <p:grpSpPr>
              <a:xfrm>
                <a:off x="5361924" y="7472790"/>
                <a:ext cx="1828800" cy="1828800"/>
                <a:chOff x="5361924" y="7472790"/>
                <a:chExt cx="1828800" cy="1828800"/>
              </a:xfrm>
            </p:grpSpPr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DACFFF66-0600-406E-AF42-9FD8E8EDB397}"/>
                    </a:ext>
                  </a:extLst>
                </p:cNvPr>
                <p:cNvGrpSpPr/>
                <p:nvPr userDrawn="1"/>
              </p:nvGrpSpPr>
              <p:grpSpPr>
                <a:xfrm>
                  <a:off x="5361924" y="7472790"/>
                  <a:ext cx="1828800" cy="1828800"/>
                  <a:chOff x="5388428" y="7173291"/>
                  <a:chExt cx="1828800" cy="1828800"/>
                </a:xfrm>
              </p:grpSpPr>
              <p:grpSp>
                <p:nvGrpSpPr>
                  <p:cNvPr id="96" name="Group 95">
                    <a:extLst>
                      <a:ext uri="{FF2B5EF4-FFF2-40B4-BE49-F238E27FC236}">
                        <a16:creationId xmlns:a16="http://schemas.microsoft.com/office/drawing/2014/main" id="{9411687D-2631-487B-AEAB-39750C9E52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5388428" y="7173291"/>
                    <a:ext cx="1828800" cy="1828800"/>
                    <a:chOff x="5388428" y="7173291"/>
                    <a:chExt cx="1828800" cy="1828800"/>
                  </a:xfrm>
                </p:grpSpPr>
                <p:grpSp>
                  <p:nvGrpSpPr>
                    <p:cNvPr id="90" name="Group 89">
                      <a:extLst>
                        <a:ext uri="{FF2B5EF4-FFF2-40B4-BE49-F238E27FC236}">
                          <a16:creationId xmlns:a16="http://schemas.microsoft.com/office/drawing/2014/main" id="{4BDDEAF6-0726-4BF4-96D7-EBA489ABF3E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5388428" y="7173291"/>
                      <a:ext cx="1828800" cy="1828800"/>
                      <a:chOff x="5579044" y="7049770"/>
                      <a:chExt cx="1828800" cy="1828800"/>
                    </a:xfrm>
                  </p:grpSpPr>
                  <p:grpSp>
                    <p:nvGrpSpPr>
                      <p:cNvPr id="89" name="Group 88">
                        <a:extLst>
                          <a:ext uri="{FF2B5EF4-FFF2-40B4-BE49-F238E27FC236}">
                            <a16:creationId xmlns:a16="http://schemas.microsoft.com/office/drawing/2014/main" id="{F80BBFBA-D0FB-4E20-8981-F569A2A0B678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5579044" y="7049770"/>
                        <a:ext cx="1828800" cy="1828800"/>
                        <a:chOff x="5579044" y="7049770"/>
                        <a:chExt cx="1828800" cy="1828800"/>
                      </a:xfrm>
                    </p:grpSpPr>
                    <p:grpSp>
                      <p:nvGrpSpPr>
                        <p:cNvPr id="86" name="Group 85">
                          <a:extLst>
                            <a:ext uri="{FF2B5EF4-FFF2-40B4-BE49-F238E27FC236}">
                              <a16:creationId xmlns:a16="http://schemas.microsoft.com/office/drawing/2014/main" id="{6B3BCF7C-4204-4B1A-8371-96E859FC8425}"/>
                            </a:ext>
                          </a:extLst>
                        </p:cNvPr>
                        <p:cNvGrpSpPr/>
                        <p:nvPr userDrawn="1"/>
                      </p:nvGrpSpPr>
                      <p:grpSpPr>
                        <a:xfrm>
                          <a:off x="5579044" y="7049770"/>
                          <a:ext cx="1828800" cy="1828800"/>
                          <a:chOff x="5579044" y="7049770"/>
                          <a:chExt cx="1828800" cy="1828800"/>
                        </a:xfrm>
                      </p:grpSpPr>
                      <p:grpSp>
                        <p:nvGrpSpPr>
                          <p:cNvPr id="83" name="Group 82">
                            <a:extLst>
                              <a:ext uri="{FF2B5EF4-FFF2-40B4-BE49-F238E27FC236}">
                                <a16:creationId xmlns:a16="http://schemas.microsoft.com/office/drawing/2014/main" id="{31CF95CD-48BB-4659-870A-21584266D83F}"/>
                              </a:ext>
                            </a:extLst>
                          </p:cNvPr>
                          <p:cNvGrpSpPr/>
                          <p:nvPr userDrawn="1"/>
                        </p:nvGrpSpPr>
                        <p:grpSpPr>
                          <a:xfrm>
                            <a:off x="5579044" y="7049770"/>
                            <a:ext cx="1828800" cy="1828800"/>
                            <a:chOff x="5579044" y="7049770"/>
                            <a:chExt cx="1828800" cy="1828800"/>
                          </a:xfrm>
                        </p:grpSpPr>
                        <p:sp>
                          <p:nvSpPr>
                            <p:cNvPr id="78" name="Oval 77">
                              <a:extLst>
                                <a:ext uri="{FF2B5EF4-FFF2-40B4-BE49-F238E27FC236}">
                                  <a16:creationId xmlns:a16="http://schemas.microsoft.com/office/drawing/2014/main" id="{871E1954-F3FD-427D-8FFA-F28839673545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579044" y="7049770"/>
                              <a:ext cx="1828800" cy="182880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  <p:sp>
                          <p:nvSpPr>
                            <p:cNvPr id="80" name="Oval 79">
                              <a:extLst>
                                <a:ext uri="{FF2B5EF4-FFF2-40B4-BE49-F238E27FC236}">
                                  <a16:creationId xmlns:a16="http://schemas.microsoft.com/office/drawing/2014/main" id="{B655BD1D-8AE2-43E7-B1D4-17923D0E0171}"/>
                                </a:ext>
                              </a:extLst>
                            </p:cNvPr>
                            <p:cNvSpPr/>
                            <p:nvPr userDrawn="1"/>
                          </p:nvSpPr>
                          <p:spPr>
                            <a:xfrm>
                              <a:off x="5647624" y="7118350"/>
                              <a:ext cx="1691640" cy="1691640"/>
                            </a:xfrm>
                            <a:prstGeom prst="ellipse">
                              <a:avLst/>
                            </a:prstGeom>
                            <a:noFill/>
                            <a:ln w="254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050" dirty="0"/>
                                <a:t> </a:t>
                              </a:r>
                            </a:p>
                          </p:txBody>
                        </p:sp>
                      </p:grpSp>
                      <p:sp>
                        <p:nvSpPr>
                          <p:cNvPr id="82" name="Oval 81">
                            <a:extLst>
                              <a:ext uri="{FF2B5EF4-FFF2-40B4-BE49-F238E27FC236}">
                                <a16:creationId xmlns:a16="http://schemas.microsoft.com/office/drawing/2014/main" id="{9F92C461-5E10-49F3-B4F0-F320512C0756}"/>
                              </a:ext>
                            </a:extLst>
                          </p:cNvPr>
                          <p:cNvSpPr/>
                          <p:nvPr userDrawn="1"/>
                        </p:nvSpPr>
                        <p:spPr>
                          <a:xfrm>
                            <a:off x="5716204" y="7186930"/>
                            <a:ext cx="1554480" cy="1554480"/>
                          </a:xfrm>
                          <a:prstGeom prst="ellipse">
                            <a:avLst/>
                          </a:prstGeom>
                          <a:noFill/>
                          <a:ln w="254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050" dirty="0"/>
                              <a:t> </a:t>
                            </a:r>
                          </a:p>
                        </p:txBody>
                      </p:sp>
                    </p:grpSp>
                    <p:sp>
                      <p:nvSpPr>
                        <p:cNvPr id="85" name="Oval 84">
                          <a:extLst>
                            <a:ext uri="{FF2B5EF4-FFF2-40B4-BE49-F238E27FC236}">
                              <a16:creationId xmlns:a16="http://schemas.microsoft.com/office/drawing/2014/main" id="{A6D57951-375C-41E9-BF45-DFC40F8E0A1A}"/>
                            </a:ext>
                          </a:extLst>
                        </p:cNvPr>
                        <p:cNvSpPr/>
                        <p:nvPr userDrawn="1"/>
                      </p:nvSpPr>
                      <p:spPr>
                        <a:xfrm>
                          <a:off x="5784784" y="7255510"/>
                          <a:ext cx="1417320" cy="1417320"/>
                        </a:xfrm>
                        <a:prstGeom prst="ellipse">
                          <a:avLst/>
                        </a:prstGeom>
                        <a:noFill/>
                        <a:ln w="25400"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050" dirty="0"/>
                            <a:t> </a:t>
                          </a:r>
                        </a:p>
                      </p:txBody>
                    </p:sp>
                  </p:grpSp>
                  <p:sp>
                    <p:nvSpPr>
                      <p:cNvPr id="88" name="Oval 87">
                        <a:extLst>
                          <a:ext uri="{FF2B5EF4-FFF2-40B4-BE49-F238E27FC236}">
                            <a16:creationId xmlns:a16="http://schemas.microsoft.com/office/drawing/2014/main" id="{E4A4216D-DF9B-4DD9-989C-1F4040F3F4F7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5853364" y="7324090"/>
                        <a:ext cx="1280160" cy="1280160"/>
                      </a:xfrm>
                      <a:prstGeom prst="ellipse">
                        <a:avLst/>
                      </a:prstGeom>
                      <a:noFill/>
                      <a:ln w="25400">
                        <a:solidFill>
                          <a:schemeClr val="accent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050" dirty="0"/>
                          <a:t> </a:t>
                        </a:r>
                      </a:p>
                    </p:txBody>
                  </p:sp>
                </p:grpSp>
                <p:sp>
                  <p:nvSpPr>
                    <p:cNvPr id="92" name="Oval 91">
                      <a:extLst>
                        <a:ext uri="{FF2B5EF4-FFF2-40B4-BE49-F238E27FC236}">
                          <a16:creationId xmlns:a16="http://schemas.microsoft.com/office/drawing/2014/main" id="{3DCCC81D-9EE7-47A8-8A4C-74B5E047A33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5731328" y="7516191"/>
                      <a:ext cx="1143000" cy="1143000"/>
                    </a:xfrm>
                    <a:prstGeom prst="ellipse">
                      <a:avLst/>
                    </a:prstGeom>
                    <a:noFill/>
                    <a:ln w="25400"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050" dirty="0"/>
                        <a:t> </a:t>
                      </a:r>
                    </a:p>
                  </p:txBody>
                </p:sp>
              </p:grpSp>
              <p:sp>
                <p:nvSpPr>
                  <p:cNvPr id="95" name="Oval 94">
                    <a:extLst>
                      <a:ext uri="{FF2B5EF4-FFF2-40B4-BE49-F238E27FC236}">
                        <a16:creationId xmlns:a16="http://schemas.microsoft.com/office/drawing/2014/main" id="{9985F9FD-CFFB-417E-A560-28BD7BC7EE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5799908" y="7584771"/>
                    <a:ext cx="1005840" cy="1005840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050" dirty="0"/>
                      <a:t> </a:t>
                    </a:r>
                  </a:p>
                </p:txBody>
              </p:sp>
            </p:grpSp>
            <p:sp>
              <p:nvSpPr>
                <p:cNvPr id="98" name="Oval 97">
                  <a:extLst>
                    <a:ext uri="{FF2B5EF4-FFF2-40B4-BE49-F238E27FC236}">
                      <a16:creationId xmlns:a16="http://schemas.microsoft.com/office/drawing/2014/main" id="{9A923F7B-7D75-4E04-AE62-D5B99F645756}"/>
                    </a:ext>
                  </a:extLst>
                </p:cNvPr>
                <p:cNvSpPr/>
                <p:nvPr userDrawn="1"/>
              </p:nvSpPr>
              <p:spPr>
                <a:xfrm>
                  <a:off x="5841984" y="7952850"/>
                  <a:ext cx="868680" cy="86868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F0239D2C-73EF-42E3-B73F-E69B7C27F65B}"/>
                    </a:ext>
                  </a:extLst>
                </p:cNvPr>
                <p:cNvSpPr/>
                <p:nvPr userDrawn="1"/>
              </p:nvSpPr>
              <p:spPr>
                <a:xfrm>
                  <a:off x="5910564" y="8021430"/>
                  <a:ext cx="731520" cy="73152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59BA1C3D-ADED-4596-8A9D-3DEC7E848945}"/>
                    </a:ext>
                  </a:extLst>
                </p:cNvPr>
                <p:cNvSpPr/>
                <p:nvPr userDrawn="1"/>
              </p:nvSpPr>
              <p:spPr>
                <a:xfrm>
                  <a:off x="5979144" y="8090010"/>
                  <a:ext cx="594360" cy="59436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015F2BFA-6803-42A0-A870-794B120EF574}"/>
                    </a:ext>
                  </a:extLst>
                </p:cNvPr>
                <p:cNvSpPr/>
                <p:nvPr userDrawn="1"/>
              </p:nvSpPr>
              <p:spPr>
                <a:xfrm>
                  <a:off x="6047724" y="8158590"/>
                  <a:ext cx="457200" cy="45720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E09A173D-9FE5-446C-B59E-5D7C0A00BF6C}"/>
                    </a:ext>
                  </a:extLst>
                </p:cNvPr>
                <p:cNvSpPr/>
                <p:nvPr userDrawn="1"/>
              </p:nvSpPr>
              <p:spPr>
                <a:xfrm>
                  <a:off x="6116304" y="8227170"/>
                  <a:ext cx="320040" cy="320040"/>
                </a:xfrm>
                <a:prstGeom prst="ellipse">
                  <a:avLst/>
                </a:pr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/>
                    <a:t> </a:t>
                  </a:r>
                </a:p>
              </p:txBody>
            </p:sp>
          </p:grp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74C3792-995F-4717-8C8B-089BBA7DE9C7}"/>
                  </a:ext>
                </a:extLst>
              </p:cNvPr>
              <p:cNvSpPr/>
              <p:nvPr userDrawn="1"/>
            </p:nvSpPr>
            <p:spPr>
              <a:xfrm>
                <a:off x="6184884" y="8295750"/>
                <a:ext cx="182880" cy="182880"/>
              </a:xfrm>
              <a:prstGeom prst="ellipse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/>
                  <a:t> </a:t>
                </a:r>
              </a:p>
            </p:txBody>
          </p:sp>
        </p:grp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8FD950B-0E2B-4905-8DE9-195E24B2ABE7}"/>
                </a:ext>
              </a:extLst>
            </p:cNvPr>
            <p:cNvSpPr/>
            <p:nvPr userDrawn="1"/>
          </p:nvSpPr>
          <p:spPr>
            <a:xfrm rot="10800000">
              <a:off x="1013527" y="2043171"/>
              <a:ext cx="1014984" cy="2029968"/>
            </a:xfrm>
            <a:custGeom>
              <a:avLst/>
              <a:gdLst>
                <a:gd name="connsiteX0" fmla="*/ 1248 w 915648"/>
                <a:gd name="connsiteY0" fmla="*/ 0 h 1828800"/>
                <a:gd name="connsiteX1" fmla="*/ 915648 w 915648"/>
                <a:gd name="connsiteY1" fmla="*/ 914400 h 1828800"/>
                <a:gd name="connsiteX2" fmla="*/ 1248 w 915648"/>
                <a:gd name="connsiteY2" fmla="*/ 1828800 h 1828800"/>
                <a:gd name="connsiteX3" fmla="*/ 0 w 915648"/>
                <a:gd name="connsiteY3" fmla="*/ 1828737 h 1828800"/>
                <a:gd name="connsiteX4" fmla="*/ 0 w 915648"/>
                <a:gd name="connsiteY4" fmla="*/ 63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48" h="1828800">
                  <a:moveTo>
                    <a:pt x="1248" y="0"/>
                  </a:moveTo>
                  <a:cubicBezTo>
                    <a:pt x="506257" y="0"/>
                    <a:pt x="915648" y="409391"/>
                    <a:pt x="915648" y="914400"/>
                  </a:cubicBezTo>
                  <a:cubicBezTo>
                    <a:pt x="915648" y="1419409"/>
                    <a:pt x="506257" y="1828800"/>
                    <a:pt x="1248" y="1828800"/>
                  </a:cubicBezTo>
                  <a:lnTo>
                    <a:pt x="0" y="18287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168" name="Rectangle 9">
              <a:extLst>
                <a:ext uri="{FF2B5EF4-FFF2-40B4-BE49-F238E27FC236}">
                  <a16:creationId xmlns:a16="http://schemas.microsoft.com/office/drawing/2014/main" id="{D0B57759-E007-4FD0-9C6B-356DC53050C4}"/>
                </a:ext>
              </a:extLst>
            </p:cNvPr>
            <p:cNvSpPr/>
            <p:nvPr userDrawn="1"/>
          </p:nvSpPr>
          <p:spPr>
            <a:xfrm rot="5400000">
              <a:off x="2028432" y="4821048"/>
              <a:ext cx="2029968" cy="2029968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0 h 1828800"/>
                <a:gd name="connsiteX2" fmla="*/ 1828800 w 1828800"/>
                <a:gd name="connsiteY2" fmla="*/ 1828800 h 1828800"/>
                <a:gd name="connsiteX3" fmla="*/ 0 w 1828800"/>
                <a:gd name="connsiteY3" fmla="*/ 1828800 h 1828800"/>
                <a:gd name="connsiteX4" fmla="*/ 0 w 1828800"/>
                <a:gd name="connsiteY4" fmla="*/ 0 h 1828800"/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0 w 1828800"/>
                <a:gd name="connsiteY2" fmla="*/ 1828800 h 1828800"/>
                <a:gd name="connsiteX3" fmla="*/ 0 w 1828800"/>
                <a:gd name="connsiteY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1828800" y="1828800"/>
                  </a:lnTo>
                  <a:lnTo>
                    <a:pt x="0" y="18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273C520A-0126-47DA-A75B-1A38883907A2}"/>
                </a:ext>
              </a:extLst>
            </p:cNvPr>
            <p:cNvSpPr/>
            <p:nvPr userDrawn="1"/>
          </p:nvSpPr>
          <p:spPr>
            <a:xfrm>
              <a:off x="861942" y="888111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AB12487D-8BC9-4BEB-B6A7-B9DD702B2BD3}"/>
                </a:ext>
              </a:extLst>
            </p:cNvPr>
            <p:cNvSpPr/>
            <p:nvPr userDrawn="1"/>
          </p:nvSpPr>
          <p:spPr>
            <a:xfrm>
              <a:off x="0" y="4082178"/>
              <a:ext cx="2029968" cy="20299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97" name="Graphic 296">
              <a:extLst>
                <a:ext uri="{FF2B5EF4-FFF2-40B4-BE49-F238E27FC236}">
                  <a16:creationId xmlns:a16="http://schemas.microsoft.com/office/drawing/2014/main" id="{AEE6DE36-A3C9-4D40-B471-F49B6A875D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2029016" y="2051944"/>
              <a:ext cx="2029968" cy="2029968"/>
            </a:xfrm>
            <a:prstGeom prst="rect">
              <a:avLst/>
            </a:prstGeom>
          </p:spPr>
        </p:pic>
        <p:pic>
          <p:nvPicPr>
            <p:cNvPr id="299" name="Graphic 298">
              <a:extLst>
                <a:ext uri="{FF2B5EF4-FFF2-40B4-BE49-F238E27FC236}">
                  <a16:creationId xmlns:a16="http://schemas.microsoft.com/office/drawing/2014/main" id="{99FF86FA-8891-4235-B88B-CFCA3B57E5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0" y="4078224"/>
              <a:ext cx="2029968" cy="2029968"/>
            </a:xfrm>
            <a:prstGeom prst="rect">
              <a:avLst/>
            </a:prstGeom>
          </p:spPr>
        </p:pic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7ADD6DC9-9036-47C7-AAE5-8AF23CE0C8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376" y="989441"/>
              <a:ext cx="5867327" cy="586720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5184" y="408214"/>
            <a:ext cx="4146163" cy="2014037"/>
          </a:xfrm>
        </p:spPr>
        <p:txBody>
          <a:bodyPr anchor="b">
            <a:normAutofit/>
          </a:bodyPr>
          <a:lstStyle>
            <a:lvl1pPr algn="l">
              <a:defRPr sz="33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32955-BB06-40DE-A14A-2170FD41AD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2255" y="2567830"/>
            <a:ext cx="4146163" cy="1522477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9408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240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729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196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378994" y="2663589"/>
            <a:ext cx="4387106" cy="364461"/>
          </a:xfrm>
        </p:spPr>
        <p:txBody>
          <a:bodyPr wrap="square" anchor="b">
            <a:spAutoFit/>
          </a:bodyPr>
          <a:lstStyle>
            <a:lvl1pPr algn="l" defTabSz="280800">
              <a:lnSpc>
                <a:spcPct val="95000"/>
              </a:lnSpc>
              <a:spcAft>
                <a:spcPts val="553"/>
              </a:spcAft>
              <a:defRPr sz="12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November 27, 2024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394" y="-9450"/>
            <a:ext cx="9144394" cy="515295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78994" y="1518750"/>
            <a:ext cx="4387106" cy="350865"/>
          </a:xfrm>
        </p:spPr>
        <p:txBody>
          <a:bodyPr tIns="0" bIns="0" anchor="b"/>
          <a:lstStyle>
            <a:lvl1pPr algn="l" defTabSz="280800">
              <a:lnSpc>
                <a:spcPct val="95000"/>
              </a:lnSpc>
              <a:spcAft>
                <a:spcPts val="0"/>
              </a:spcAft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8994" y="1869614"/>
            <a:ext cx="4387106" cy="278838"/>
          </a:xfrm>
        </p:spPr>
        <p:txBody>
          <a:bodyPr wrap="square" tIns="3600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78599" y="2326118"/>
            <a:ext cx="4387500" cy="1734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378599" y="25015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78599" y="30280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78599" y="3484350"/>
            <a:ext cx="3650400" cy="2106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9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031295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5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277"/>
              </a:spcBef>
              <a:spcAft>
                <a:spcPts val="277"/>
              </a:spcAft>
              <a:defRPr sz="15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277"/>
              </a:spcBef>
              <a:spcAft>
                <a:spcPts val="277"/>
              </a:spcAft>
              <a:defRPr sz="12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3510122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55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9144000" cy="51435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878" y="2255850"/>
            <a:ext cx="2254922" cy="2281622"/>
          </a:xfrm>
        </p:spPr>
        <p:txBody>
          <a:bodyPr/>
          <a:lstStyle>
            <a:lvl1pPr>
              <a:defRPr sz="4050" b="1" baseline="0">
                <a:solidFill>
                  <a:schemeClr val="bg1"/>
                </a:solidFill>
              </a:defRPr>
            </a:lvl1pPr>
            <a:lvl2pPr>
              <a:defRPr sz="4050" baseline="0">
                <a:solidFill>
                  <a:schemeClr val="bg1"/>
                </a:solidFill>
              </a:defRPr>
            </a:lvl2pPr>
            <a:lvl3pPr>
              <a:defRPr sz="4050" baseline="0">
                <a:solidFill>
                  <a:schemeClr val="bg1"/>
                </a:solidFill>
              </a:defRPr>
            </a:lvl3pPr>
            <a:lvl4pPr>
              <a:defRPr sz="4050" baseline="0">
                <a:solidFill>
                  <a:schemeClr val="bg1"/>
                </a:solidFill>
              </a:defRPr>
            </a:lvl4pPr>
            <a:lvl5pPr>
              <a:defRPr sz="40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884310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8183820" y="86321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6533781" y="2381683"/>
            <a:ext cx="249519" cy="34917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3725421" y="2375448"/>
            <a:ext cx="284980" cy="349172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3082" y="2485990"/>
            <a:ext cx="1732720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14" y="2621323"/>
            <a:ext cx="1731185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4314" y="3025447"/>
            <a:ext cx="1987421" cy="131576"/>
          </a:xfrm>
        </p:spPr>
        <p:txBody>
          <a:bodyPr/>
          <a:lstStyle>
            <a:lvl1pPr>
              <a:defRPr sz="90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 defTabSz="2808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14" y="3157023"/>
            <a:ext cx="1987415" cy="151827"/>
          </a:xfrm>
        </p:spPr>
        <p:txBody>
          <a:bodyPr/>
          <a:lstStyle>
            <a:lvl1pPr defTabSz="280800">
              <a:lnSpc>
                <a:spcPct val="95000"/>
              </a:lnSpc>
              <a:spcAft>
                <a:spcPts val="0"/>
              </a:spcAft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0434" y="2487530"/>
            <a:ext cx="1743063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fld id="{DB389492-908D-414E-9B10-5FBA9AAE3E0E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fld id="{A2218858-49EA-4BF8-8EFE-B88A4580565A}" type="slidenum">
              <a:rPr lang="en-US"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037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7210" y="5136710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9450"/>
            <a:ext cx="9144394" cy="515295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4494652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290195" y="2663589"/>
            <a:ext cx="4387106" cy="364461"/>
          </a:xfrm>
        </p:spPr>
        <p:txBody>
          <a:bodyPr wrap="square" anchor="b">
            <a:spAutoFit/>
          </a:bodyPr>
          <a:lstStyle>
            <a:lvl1pPr algn="l" defTabSz="280800">
              <a:lnSpc>
                <a:spcPct val="95000"/>
              </a:lnSpc>
              <a:spcAft>
                <a:spcPts val="553"/>
              </a:spcAft>
              <a:defRPr sz="12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November 27, 2024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0195" y="1518750"/>
            <a:ext cx="4387106" cy="350865"/>
          </a:xfrm>
        </p:spPr>
        <p:txBody>
          <a:bodyPr tIns="0" bIns="0" anchor="b"/>
          <a:lstStyle>
            <a:lvl1pPr algn="l" defTabSz="280800">
              <a:lnSpc>
                <a:spcPct val="95000"/>
              </a:lnSpc>
              <a:spcAft>
                <a:spcPts val="0"/>
              </a:spcAft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0195" y="1869614"/>
            <a:ext cx="4387106" cy="278838"/>
          </a:xfrm>
        </p:spPr>
        <p:txBody>
          <a:bodyPr wrap="square" tIns="3600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9800" y="2326118"/>
            <a:ext cx="4387500" cy="1734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9800" y="25015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9800" y="3028050"/>
            <a:ext cx="4387500" cy="17543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89800" y="3484350"/>
            <a:ext cx="3650400" cy="2106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9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917786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6600" y="0"/>
            <a:ext cx="2957400" cy="418635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21" y="606150"/>
            <a:ext cx="5616479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800" y="2080350"/>
            <a:ext cx="5616000" cy="1053000"/>
          </a:xfrm>
        </p:spPr>
        <p:txBody>
          <a:bodyPr tIns="3600"/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fld id="{4FE53AA8-8205-44C6-AA7D-3538EAC0F1CD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1124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 &#10;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9144000" cy="51435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9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800" y="2080350"/>
            <a:ext cx="5616000" cy="1053375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accent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21" y="606150"/>
            <a:ext cx="5616479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2E854DC7-FAAD-4AD7-A72A-54622E503044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8475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9144900" cy="51435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3097800" cy="418635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9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8994" y="606150"/>
            <a:ext cx="5335191" cy="14742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8994" y="2080350"/>
            <a:ext cx="5335191" cy="1053000"/>
          </a:xfrm>
        </p:spPr>
        <p:txBody>
          <a:bodyPr tIns="3600"/>
          <a:lstStyle>
            <a:lvl1pPr>
              <a:lnSpc>
                <a:spcPct val="86000"/>
              </a:lnSpc>
              <a:defRPr sz="4050" baseline="0">
                <a:solidFill>
                  <a:schemeClr val="bg1"/>
                </a:solidFill>
              </a:defRPr>
            </a:lvl1pPr>
            <a:lvl2pPr>
              <a:defRPr sz="18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fld id="{41C53B78-E616-423D-9CC7-E40543DBA806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64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3930966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501800" y="1027350"/>
            <a:ext cx="3931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F71A1833-FAE1-44C3-9B0A-EE1B16BE8780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79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2527219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097800" y="1027350"/>
            <a:ext cx="2526713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905800" y="1027350"/>
            <a:ext cx="2527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DF8F69ED-2428-4A80-94E8-54798B345288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612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userDrawn="1">
  <p:cSld name="Title, 4 Conten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5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body" idx="4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1F802F18-D930-461E-AF3E-DC4CED3DD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1824750" cy="3510122"/>
          </a:xfrm>
        </p:spPr>
        <p:txBody>
          <a:bodyPr/>
          <a:lstStyle>
            <a:lvl1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1pPr>
            <a:lvl2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2pPr>
            <a:lvl3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75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 baseline="0"/>
            </a:lvl5pPr>
            <a:lvl6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 baseline="0"/>
            </a:lvl7pPr>
            <a:lvl8pPr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defRPr sz="9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027350"/>
            <a:ext cx="1824966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501800" y="1027350"/>
            <a:ext cx="1825181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027350"/>
            <a:ext cx="1825397" cy="3510122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6DC0EA7D-56F1-4A2B-89B2-9444DEF1AFC8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68053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&#10;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2" y="1027510"/>
            <a:ext cx="8143875" cy="210741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323" y="1378745"/>
            <a:ext cx="8143397" cy="3158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63A683AB-5A04-4495-8F42-C4AB3BB4E0B4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70649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3931678" cy="210741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1027351"/>
            <a:ext cx="3928336" cy="210740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3930966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501800" y="1378744"/>
            <a:ext cx="3931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B9BDC80F-B4C1-44FE-ACB2-6206973AA8E2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35875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2527678" cy="210741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1027510"/>
            <a:ext cx="2525529" cy="210740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1027510"/>
            <a:ext cx="2525529" cy="210740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2527219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097800" y="1378744"/>
            <a:ext cx="2526713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5905800" y="1378744"/>
            <a:ext cx="2527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845B5099-DAA5-4374-A8EF-055ECA9C9DD1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71089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1825678" cy="21074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b="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1027351"/>
            <a:ext cx="1824126" cy="2109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b="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1027510"/>
            <a:ext cx="1824126" cy="2107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b="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1027510"/>
            <a:ext cx="1825344" cy="2107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b="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378744"/>
            <a:ext cx="1824750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378744"/>
            <a:ext cx="1824966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501800" y="1378744"/>
            <a:ext cx="1825181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378744"/>
            <a:ext cx="1825397" cy="31587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8CEDC305-A4E2-47D6-8428-DF835B4BE358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0249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2" y="1027510"/>
            <a:ext cx="8143875" cy="561975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1" y="1729351"/>
            <a:ext cx="8143397" cy="280812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73C4E7FB-5B91-46E6-A46C-5488EE2B85C2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0054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le 2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09"/>
            <a:ext cx="3931678" cy="5616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aseline="0" dirty="0">
                <a:solidFill>
                  <a:schemeClr val="accent1"/>
                </a:solidFill>
              </a:defRPr>
            </a:lvl1pPr>
            <a:lvl2pPr>
              <a:defRPr lang="en-US" sz="1200" baseline="0" dirty="0">
                <a:solidFill>
                  <a:schemeClr val="accent1"/>
                </a:solidFill>
              </a:defRPr>
            </a:lvl2pPr>
            <a:lvl3pPr>
              <a:defRPr lang="en-US" sz="12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1027350"/>
            <a:ext cx="3928336" cy="5616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729350"/>
            <a:ext cx="3931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729350"/>
            <a:ext cx="3931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3CA84888-AC81-4564-B0ED-A3AB5BF805AC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01327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2527678" cy="561443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1027510"/>
            <a:ext cx="2525529" cy="56144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1027510"/>
            <a:ext cx="2525529" cy="56144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729510"/>
            <a:ext cx="2527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97800" y="1729350"/>
            <a:ext cx="2527200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05800" y="1729350"/>
            <a:ext cx="2527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58311C3C-C296-4B23-8529-7B5E85E25800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6259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875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1027510"/>
            <a:ext cx="1825678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1027351"/>
            <a:ext cx="1824126" cy="526415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1027510"/>
            <a:ext cx="1824126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1027510"/>
            <a:ext cx="1825344" cy="5262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>
                <a:solidFill>
                  <a:schemeClr val="accent1"/>
                </a:solidFill>
              </a:defRPr>
            </a:lvl1pPr>
            <a:lvl2pPr>
              <a:defRPr lang="en-US" sz="900" dirty="0">
                <a:solidFill>
                  <a:schemeClr val="accent1"/>
                </a:solidFill>
              </a:defRPr>
            </a:lvl2pPr>
            <a:lvl3pPr>
              <a:defRPr lang="en-US" sz="900" dirty="0">
                <a:solidFill>
                  <a:schemeClr val="accent1"/>
                </a:solidFill>
              </a:defRPr>
            </a:lvl3pPr>
            <a:lvl4pPr>
              <a:defRPr lang="en-US" sz="75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900" dirty="0">
                <a:solidFill>
                  <a:schemeClr val="accent1"/>
                </a:solidFill>
              </a:defRPr>
            </a:lvl6pPr>
            <a:lvl7pPr>
              <a:defRPr lang="en-US" sz="75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728788"/>
            <a:ext cx="1824750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395800" y="1728788"/>
            <a:ext cx="1824966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01800" y="1728788"/>
            <a:ext cx="1825181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607800" y="1728788"/>
            <a:ext cx="1825397" cy="28086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AACF3B69-8127-4046-A791-57CE4AFBD3DC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72612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350"/>
            <a:ext cx="8143397" cy="23171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800" y="3484350"/>
            <a:ext cx="8143875" cy="105358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64D15F24-6B43-40C0-92CA-B20BD4F41C61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10750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6 Content" userDrawn="1">
  <p:cSld name="Title, 6 Content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6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6"/>
          <p:cNvSpPr txBox="1">
            <a:spLocks noGrp="1"/>
          </p:cNvSpPr>
          <p:nvPr>
            <p:ph type="body" idx="2"/>
          </p:nvPr>
        </p:nvSpPr>
        <p:spPr>
          <a:xfrm>
            <a:off x="3239388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26"/>
          <p:cNvSpPr txBox="1">
            <a:spLocks noGrp="1"/>
          </p:cNvSpPr>
          <p:nvPr>
            <p:ph type="body" idx="3"/>
          </p:nvPr>
        </p:nvSpPr>
        <p:spPr>
          <a:xfrm>
            <a:off x="6021277" y="1203299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body" idx="4"/>
          </p:nvPr>
        </p:nvSpPr>
        <p:spPr>
          <a:xfrm>
            <a:off x="457172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6"/>
          <p:cNvSpPr txBox="1">
            <a:spLocks noGrp="1"/>
          </p:cNvSpPr>
          <p:nvPr>
            <p:ph type="body" idx="5"/>
          </p:nvPr>
        </p:nvSpPr>
        <p:spPr>
          <a:xfrm>
            <a:off x="3239388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body" idx="6"/>
          </p:nvPr>
        </p:nvSpPr>
        <p:spPr>
          <a:xfrm>
            <a:off x="6021277" y="2761547"/>
            <a:ext cx="26493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0CD96F72-7685-44CB-B084-D77004805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0"/>
            <a:ext cx="3931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027510"/>
            <a:ext cx="3931397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507"/>
            <a:ext cx="3931678" cy="105300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01800" y="3484350"/>
            <a:ext cx="3928336" cy="1053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CFE5F86F-552B-4977-B9DD-7E75D9D4FFE2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2175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0"/>
            <a:ext cx="2527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97800" y="1027351"/>
            <a:ext cx="2527200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05800" y="1027351"/>
            <a:ext cx="2527397" cy="231644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348"/>
            <a:ext cx="2527678" cy="105300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97800" y="3484350"/>
            <a:ext cx="2525529" cy="105299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7471" y="3484350"/>
            <a:ext cx="2525529" cy="105299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FE3B7811-8A70-4E0A-80E6-0BEFC6238E7B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8937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395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501800" y="1027351"/>
            <a:ext cx="1825200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607800" y="1027351"/>
            <a:ext cx="1825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323" y="3484348"/>
            <a:ext cx="1825678" cy="1052764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5800" y="3483792"/>
            <a:ext cx="1824126" cy="10535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800" y="3484350"/>
            <a:ext cx="1824126" cy="105276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7656" y="3484350"/>
            <a:ext cx="1825344" cy="1052761"/>
          </a:xfrm>
        </p:spPr>
        <p:txBody>
          <a:bodyPr vert="horz" lIns="0" tIns="0" rIns="0" bIns="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3pPr>
              <a:defRPr lang="en-US" sz="900" dirty="0"/>
            </a:lvl3pPr>
            <a:lvl4pPr>
              <a:defRPr lang="en-US" sz="750" dirty="0"/>
            </a:lvl4pPr>
            <a:lvl5pPr>
              <a:defRPr lang="en-US" dirty="0"/>
            </a:lvl5pPr>
            <a:lvl6pPr>
              <a:defRPr lang="en-US" sz="900" dirty="0"/>
            </a:lvl6pPr>
            <a:lvl7pPr>
              <a:defRPr lang="en-US" sz="75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C37681E4-1BFC-43B2-8037-029FB590810D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3808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&#10;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2" y="606028"/>
            <a:ext cx="8143679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378743"/>
            <a:ext cx="3931397" cy="315856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1027510"/>
            <a:ext cx="3931678" cy="210741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E41893C4-02D9-4333-95BC-1DA31FA8CEFE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5601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&#10;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729350"/>
            <a:ext cx="3931397" cy="280796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1027509"/>
            <a:ext cx="3931678" cy="561602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F2AFF231-6E5F-4F60-AA37-7DE0ACD786C2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51287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&#10;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89800" y="1027511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01800" y="1027351"/>
            <a:ext cx="3931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1322" y="3484209"/>
            <a:ext cx="3931678" cy="1053263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389813" indent="-214313">
              <a:buNone/>
              <a:defRPr lang="en-US" sz="12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7106D8F7-02B1-4160-83C7-46939707B81B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07477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&#10;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501800" y="1027350"/>
            <a:ext cx="3931200" cy="3509802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90278" y="1027351"/>
            <a:ext cx="3931397" cy="23166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800" y="3484209"/>
            <a:ext cx="3931678" cy="10532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AE90AF89-4D3A-4473-BDD4-EB66E7355146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11527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9323" y="606028"/>
            <a:ext cx="8143678" cy="280988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15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45DC443F-D5F0-4B85-B2C1-3A4667FC9D7A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05358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fld id="{724BFB57-36D4-4F2E-ADB1-F2B6DE0714C7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35536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&#10;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254700" y="4853250"/>
            <a:ext cx="561600" cy="210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9144000" cy="51435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878" y="2255850"/>
            <a:ext cx="2254922" cy="2281622"/>
          </a:xfrm>
        </p:spPr>
        <p:txBody>
          <a:bodyPr/>
          <a:lstStyle>
            <a:lvl1pPr>
              <a:defRPr sz="4050" b="1" baseline="0">
                <a:solidFill>
                  <a:schemeClr val="bg1"/>
                </a:solidFill>
              </a:defRPr>
            </a:lvl1pPr>
            <a:lvl2pPr>
              <a:defRPr sz="4050" baseline="0">
                <a:solidFill>
                  <a:schemeClr val="bg1"/>
                </a:solidFill>
              </a:defRPr>
            </a:lvl2pPr>
            <a:lvl3pPr>
              <a:defRPr sz="4050" baseline="0">
                <a:solidFill>
                  <a:schemeClr val="bg1"/>
                </a:solidFill>
              </a:defRPr>
            </a:lvl3pPr>
            <a:lvl4pPr>
              <a:defRPr sz="4050" baseline="0">
                <a:solidFill>
                  <a:schemeClr val="bg1"/>
                </a:solidFill>
              </a:defRPr>
            </a:lvl4pPr>
            <a:lvl5pPr>
              <a:defRPr sz="40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6533781" y="2381683"/>
            <a:ext cx="249519" cy="34917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3725421" y="2375448"/>
            <a:ext cx="284980" cy="349172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050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7262200" y="184950"/>
            <a:ext cx="0" cy="6318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8853720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8638184" y="96276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8397900" y="86321"/>
            <a:ext cx="152400" cy="1524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8183820" y="86321"/>
            <a:ext cx="152400" cy="1524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25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7583931" y="325041"/>
            <a:ext cx="1270748" cy="351309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3082" y="2485990"/>
            <a:ext cx="1732720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14" y="2621323"/>
            <a:ext cx="1731185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4314" y="3025447"/>
            <a:ext cx="1987421" cy="131576"/>
          </a:xfrm>
        </p:spPr>
        <p:txBody>
          <a:bodyPr/>
          <a:lstStyle>
            <a:lvl1pPr>
              <a:defRPr sz="900" baseline="0">
                <a:solidFill>
                  <a:schemeClr val="bg1"/>
                </a:solidFill>
              </a:defRPr>
            </a:lvl1pPr>
            <a:lvl2pPr>
              <a:defRPr sz="900" baseline="0">
                <a:solidFill>
                  <a:schemeClr val="bg1"/>
                </a:solidFill>
              </a:defRPr>
            </a:lvl2pPr>
            <a:lvl3pPr>
              <a:defRPr sz="900" baseline="0">
                <a:solidFill>
                  <a:schemeClr val="bg1"/>
                </a:solidFill>
              </a:defRPr>
            </a:lvl3pPr>
            <a:lvl4pPr>
              <a:defRPr sz="900" baseline="0">
                <a:solidFill>
                  <a:schemeClr val="bg1"/>
                </a:solidFill>
              </a:defRPr>
            </a:lvl4pPr>
            <a:lvl5pPr>
              <a:defRPr sz="900" baseline="0">
                <a:solidFill>
                  <a:schemeClr val="bg1"/>
                </a:solidFill>
              </a:defRPr>
            </a:lvl5pPr>
          </a:lstStyle>
          <a:p>
            <a:pPr lvl="0" defTabSz="2808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14" y="3157023"/>
            <a:ext cx="1987415" cy="151827"/>
          </a:xfrm>
        </p:spPr>
        <p:txBody>
          <a:bodyPr/>
          <a:lstStyle>
            <a:lvl1pPr defTabSz="280800">
              <a:lnSpc>
                <a:spcPct val="95000"/>
              </a:lnSpc>
              <a:spcAft>
                <a:spcPts val="0"/>
              </a:spcAft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9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0434" y="2487530"/>
            <a:ext cx="1743063" cy="131575"/>
          </a:xfrm>
        </p:spPr>
        <p:txBody>
          <a:bodyPr/>
          <a:lstStyle>
            <a:lvl1pPr>
              <a:defRPr sz="900" b="1" i="0" baseline="0">
                <a:solidFill>
                  <a:schemeClr val="bg1"/>
                </a:solidFill>
              </a:defRPr>
            </a:lvl1pPr>
            <a:lvl2pPr>
              <a:defRPr sz="900" b="1" i="0" baseline="0">
                <a:solidFill>
                  <a:schemeClr val="bg1"/>
                </a:solidFill>
              </a:defRPr>
            </a:lvl2pPr>
            <a:lvl3pPr>
              <a:defRPr sz="900" b="1" i="0" baseline="0">
                <a:solidFill>
                  <a:schemeClr val="bg1"/>
                </a:solidFill>
              </a:defRPr>
            </a:lvl3pPr>
            <a:lvl4pPr>
              <a:defRPr sz="900" b="1" i="0" baseline="0">
                <a:solidFill>
                  <a:schemeClr val="bg1"/>
                </a:solidFill>
              </a:defRPr>
            </a:lvl4pPr>
            <a:lvl5pPr>
              <a:defRPr sz="9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fld id="{BD94D0EC-69AD-4209-B306-81122119E786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</a:pPr>
            <a:r>
              <a:rPr lang="en-US"/>
              <a:t>Page </a:t>
            </a:r>
            <a:fld id="{A2218858-49EA-4BF8-8EFE-B88A4580565A}" type="slidenum">
              <a:rPr smtClean="0"/>
              <a:pPr>
                <a:lnSpc>
                  <a:spcPct val="110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9834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userDrawn="1">
  <p:cSld name="Title, 2 Content over Content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3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3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82287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F57BDFE9-BD56-4BEC-A0E1-C6707B1B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26985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and 2 Content" userDrawn="1">
  <p:cSld name="Title Content and 2 Content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2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29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2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2"/>
          <p:cNvSpPr txBox="1">
            <a:spLocks noGrp="1"/>
          </p:cNvSpPr>
          <p:nvPr>
            <p:ph type="body" idx="3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1635DF2F-446A-469B-981D-055C63AF5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 over Content" userDrawn="1">
  <p:cSld name="Title, 2 Content over Content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3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3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82287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F57BDFE9-BD56-4BEC-A0E1-C6707B1B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4 Content" userDrawn="1">
  <p:cSld name="Title, 4 Conten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5"/>
          <p:cNvSpPr txBox="1">
            <a:spLocks noGrp="1"/>
          </p:cNvSpPr>
          <p:nvPr>
            <p:ph type="body" idx="1"/>
          </p:nvPr>
        </p:nvSpPr>
        <p:spPr>
          <a:xfrm>
            <a:off x="457172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body" idx="2"/>
          </p:nvPr>
        </p:nvSpPr>
        <p:spPr>
          <a:xfrm>
            <a:off x="4673927" y="1203299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body" idx="3"/>
          </p:nvPr>
        </p:nvSpPr>
        <p:spPr>
          <a:xfrm>
            <a:off x="457172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body" idx="4"/>
          </p:nvPr>
        </p:nvSpPr>
        <p:spPr>
          <a:xfrm>
            <a:off x="4673927" y="2761547"/>
            <a:ext cx="4015500" cy="142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marL="914400" lvl="1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2pPr>
            <a:lvl3pPr marL="1371600" lvl="2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3pPr>
            <a:lvl4pPr marL="1828800" lvl="3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4pPr>
            <a:lvl5pPr marL="2286000" lvl="4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5pPr>
            <a:lvl6pPr marL="2743200" lvl="5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6pPr>
            <a:lvl7pPr marL="3200400" lvl="6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7pPr>
            <a:lvl8pPr marL="3657600" lvl="7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8pPr>
            <a:lvl9pPr marL="4114800" lvl="8" indent="-228600" algn="l" rtl="0"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9pPr>
          </a:lstStyle>
          <a:p>
            <a:endParaRPr/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1F802F18-D930-461E-AF3E-DC4CED3DD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9.sv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svg"/><Relationship Id="rId1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theme" Target="../theme/theme6.xml"/><Relationship Id="rId35" Type="http://schemas.openxmlformats.org/officeDocument/2006/relationships/tags" Target="../tags/tag5.xml"/><Relationship Id="rId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134B87A-5BFF-4C35-A918-D3278D37E5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43067" y="0"/>
            <a:ext cx="9387067" cy="51435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EE507FC4-02AC-4A22-AA77-BB3E05A4F7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663" r="23693" b="-2"/>
          <a:stretch/>
        </p:blipFill>
        <p:spPr>
          <a:xfrm>
            <a:off x="3881120" y="0"/>
            <a:ext cx="5262881" cy="393988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73686B8-3E21-4700-BE58-CB6C8D95491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5256" y="424531"/>
            <a:ext cx="2806661" cy="965618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622D8-7B9C-4953-A50E-7FC980FEEC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A7A9AC"/>
                </a:solidFill>
              </a:defRPr>
            </a:lvl1pPr>
          </a:lstStyle>
          <a:p>
            <a:fld id="{1056658F-01B8-46CB-AF69-5D1DCC2C630D}" type="datetimeFigureOut">
              <a:rPr lang="en-NL" smtClean="0"/>
              <a:pPr/>
              <a:t>27/11/2024</a:t>
            </a:fld>
            <a:endParaRPr lang="en-N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24992-1EB4-81ED-5105-2DD3C6D641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b="38456"/>
          <a:stretch/>
        </p:blipFill>
        <p:spPr>
          <a:xfrm>
            <a:off x="0" y="4886048"/>
            <a:ext cx="682090" cy="209893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8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Work Sans" panose="00000500000000000000" pitchFamily="2" charset="0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Work Sans" panose="00000500000000000000" pitchFamily="2" charset="0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C31ED94-4D7E-4C47-A401-3A08AB031C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7658100" cy="762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A26450F-66CD-46DE-A3A3-EEB19EA8FE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32663" r="23693" b="54313"/>
          <a:stretch/>
        </p:blipFill>
        <p:spPr>
          <a:xfrm>
            <a:off x="3881119" y="0"/>
            <a:ext cx="5262881" cy="762000"/>
          </a:xfrm>
          <a:prstGeom prst="rect">
            <a:avLst/>
          </a:prstGeom>
        </p:spPr>
      </p:pic>
      <p:sp>
        <p:nvSpPr>
          <p:cNvPr id="10" name="Google Shape;152;p30">
            <a:extLst>
              <a:ext uri="{FF2B5EF4-FFF2-40B4-BE49-F238E27FC236}">
                <a16:creationId xmlns:a16="http://schemas.microsoft.com/office/drawing/2014/main" id="{71B605BC-A8D4-469B-B2EC-5F693B02B15E}"/>
              </a:ext>
            </a:extLst>
          </p:cNvPr>
          <p:cNvSpPr txBox="1"/>
          <p:nvPr userDrawn="1"/>
        </p:nvSpPr>
        <p:spPr>
          <a:xfrm>
            <a:off x="4461363" y="47559"/>
            <a:ext cx="4527300" cy="354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lt1"/>
                </a:solidFill>
                <a:latin typeface="Titillium Web SemiBold" panose="00000700000000000000" pitchFamily="2" charset="0"/>
                <a:ea typeface="Roboto"/>
                <a:cs typeface="Roboto"/>
                <a:sym typeface="Roboto"/>
              </a:rPr>
              <a:t>TIOBE Software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C90103AF-B4EE-46EC-A128-AED666C79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14" name="Google Shape;294;p36">
            <a:extLst>
              <a:ext uri="{FF2B5EF4-FFF2-40B4-BE49-F238E27FC236}">
                <a16:creationId xmlns:a16="http://schemas.microsoft.com/office/drawing/2014/main" id="{F883F067-DF26-4E5A-B584-DDB83082B04D}"/>
              </a:ext>
            </a:extLst>
          </p:cNvPr>
          <p:cNvSpPr/>
          <p:nvPr userDrawn="1"/>
        </p:nvSpPr>
        <p:spPr>
          <a:xfrm>
            <a:off x="7353385" y="4903641"/>
            <a:ext cx="2907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625" tIns="40825" rIns="81625" bIns="40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l-NL" sz="900" u="sng">
                <a:solidFill>
                  <a:srgbClr val="0563C1"/>
                </a:solidFill>
                <a:effectLst/>
                <a:latin typeface="+mj-lt"/>
                <a:ea typeface="Calibri" panose="020F0502020204030204" pitchFamily="34" charset="0"/>
              </a:rPr>
              <a:t>info@tiobe.com</a:t>
            </a:r>
            <a:r>
              <a:rPr lang="nl" sz="900">
                <a:solidFill>
                  <a:srgbClr val="3D3F3E"/>
                </a:solidFill>
                <a:latin typeface="+mj-lt"/>
                <a:ea typeface="Roboto"/>
                <a:cs typeface="Roboto"/>
                <a:sym typeface="Roboto"/>
              </a:rPr>
              <a:t> | TIOBE Software</a:t>
            </a:r>
            <a:endParaRPr sz="900">
              <a:solidFill>
                <a:srgbClr val="3D3F3E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DE380B2-5680-4F7D-BD56-E5FCB62E8F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669" y="0"/>
            <a:ext cx="1690128" cy="7744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16B3D2F-DDAF-6723-6ECC-53D50C52B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b="38456"/>
          <a:stretch/>
        </p:blipFill>
        <p:spPr>
          <a:xfrm>
            <a:off x="0" y="4886048"/>
            <a:ext cx="682090" cy="20989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70" r:id="rId3"/>
    <p:sldLayoutId id="2147483671" r:id="rId4"/>
    <p:sldLayoutId id="2147483747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r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/>
          </a:solidFill>
          <a:latin typeface="+mj-lt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Work Sans" panose="00000500000000000000" pitchFamily="2" charset="0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C31ED94-4D7E-4C47-A401-3A08AB031C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7658100" cy="762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A26450F-66CD-46DE-A3A3-EEB19EA8FE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32663" r="23693" b="54313"/>
          <a:stretch/>
        </p:blipFill>
        <p:spPr>
          <a:xfrm>
            <a:off x="3881119" y="0"/>
            <a:ext cx="5262881" cy="762000"/>
          </a:xfrm>
          <a:prstGeom prst="rect">
            <a:avLst/>
          </a:prstGeom>
        </p:spPr>
      </p:pic>
      <p:sp>
        <p:nvSpPr>
          <p:cNvPr id="10" name="Google Shape;152;p30">
            <a:extLst>
              <a:ext uri="{FF2B5EF4-FFF2-40B4-BE49-F238E27FC236}">
                <a16:creationId xmlns:a16="http://schemas.microsoft.com/office/drawing/2014/main" id="{71B605BC-A8D4-469B-B2EC-5F693B02B15E}"/>
              </a:ext>
            </a:extLst>
          </p:cNvPr>
          <p:cNvSpPr txBox="1"/>
          <p:nvPr userDrawn="1"/>
        </p:nvSpPr>
        <p:spPr>
          <a:xfrm>
            <a:off x="4461363" y="47559"/>
            <a:ext cx="4527300" cy="354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lt1"/>
                </a:solidFill>
                <a:latin typeface="Titillium Web SemiBold" panose="00000700000000000000" pitchFamily="2" charset="0"/>
                <a:ea typeface="Roboto"/>
                <a:cs typeface="Roboto"/>
                <a:sym typeface="Roboto"/>
              </a:rPr>
              <a:t>TIOBE Software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C90103AF-B4EE-46EC-A128-AED666C79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14" name="Google Shape;294;p36">
            <a:extLst>
              <a:ext uri="{FF2B5EF4-FFF2-40B4-BE49-F238E27FC236}">
                <a16:creationId xmlns:a16="http://schemas.microsoft.com/office/drawing/2014/main" id="{F883F067-DF26-4E5A-B584-DDB83082B04D}"/>
              </a:ext>
            </a:extLst>
          </p:cNvPr>
          <p:cNvSpPr/>
          <p:nvPr userDrawn="1"/>
        </p:nvSpPr>
        <p:spPr>
          <a:xfrm>
            <a:off x="7353385" y="4903641"/>
            <a:ext cx="2907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625" tIns="40825" rIns="81625" bIns="40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l-NL" sz="900" u="sng">
                <a:solidFill>
                  <a:srgbClr val="0563C1"/>
                </a:solidFill>
                <a:effectLst/>
                <a:latin typeface="+mj-lt"/>
                <a:ea typeface="Calibri" panose="020F0502020204030204" pitchFamily="34" charset="0"/>
              </a:rPr>
              <a:t>info@tiobe.com</a:t>
            </a:r>
            <a:r>
              <a:rPr lang="nl" sz="900">
                <a:solidFill>
                  <a:srgbClr val="3D3F3E"/>
                </a:solidFill>
                <a:latin typeface="+mj-lt"/>
                <a:ea typeface="Roboto"/>
                <a:cs typeface="Roboto"/>
                <a:sym typeface="Roboto"/>
              </a:rPr>
              <a:t> | TIOBE Software</a:t>
            </a:r>
            <a:endParaRPr sz="900">
              <a:solidFill>
                <a:srgbClr val="3D3F3E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DE380B2-5680-4F7D-BD56-E5FCB62E8F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669" y="0"/>
            <a:ext cx="1690128" cy="7744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16B3D2F-DDAF-6723-6ECC-53D50C52B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b="38456"/>
          <a:stretch/>
        </p:blipFill>
        <p:spPr>
          <a:xfrm>
            <a:off x="0" y="4886048"/>
            <a:ext cx="682090" cy="20989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0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r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/>
          </a:solidFill>
          <a:latin typeface="+mj-lt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Work Sans" panose="00000500000000000000" pitchFamily="2" charset="0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C31ED94-4D7E-4C47-A401-3A08AB031C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0"/>
            <a:ext cx="7658100" cy="762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A26450F-66CD-46DE-A3A3-EEB19EA8FE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32663" r="23693" b="54313"/>
          <a:stretch/>
        </p:blipFill>
        <p:spPr>
          <a:xfrm>
            <a:off x="3881119" y="0"/>
            <a:ext cx="5262881" cy="762000"/>
          </a:xfrm>
          <a:prstGeom prst="rect">
            <a:avLst/>
          </a:prstGeom>
        </p:spPr>
      </p:pic>
      <p:sp>
        <p:nvSpPr>
          <p:cNvPr id="10" name="Google Shape;152;p30">
            <a:extLst>
              <a:ext uri="{FF2B5EF4-FFF2-40B4-BE49-F238E27FC236}">
                <a16:creationId xmlns:a16="http://schemas.microsoft.com/office/drawing/2014/main" id="{71B605BC-A8D4-469B-B2EC-5F693B02B15E}"/>
              </a:ext>
            </a:extLst>
          </p:cNvPr>
          <p:cNvSpPr txBox="1"/>
          <p:nvPr userDrawn="1"/>
        </p:nvSpPr>
        <p:spPr>
          <a:xfrm>
            <a:off x="4461363" y="47559"/>
            <a:ext cx="4527300" cy="354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lt1"/>
                </a:solidFill>
                <a:latin typeface="Titillium Web SemiBold" panose="00000700000000000000" pitchFamily="2" charset="0"/>
                <a:ea typeface="Roboto"/>
                <a:cs typeface="Roboto"/>
                <a:sym typeface="Roboto"/>
              </a:rPr>
              <a:t>TIOBE Software</a:t>
            </a: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C90103AF-B4EE-46EC-A128-AED666C79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186" y="380999"/>
            <a:ext cx="2897145" cy="354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14" name="Google Shape;294;p36">
            <a:extLst>
              <a:ext uri="{FF2B5EF4-FFF2-40B4-BE49-F238E27FC236}">
                <a16:creationId xmlns:a16="http://schemas.microsoft.com/office/drawing/2014/main" id="{F883F067-DF26-4E5A-B584-DDB83082B04D}"/>
              </a:ext>
            </a:extLst>
          </p:cNvPr>
          <p:cNvSpPr/>
          <p:nvPr userDrawn="1"/>
        </p:nvSpPr>
        <p:spPr>
          <a:xfrm>
            <a:off x="7353385" y="4903641"/>
            <a:ext cx="2907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1625" tIns="40825" rIns="81625" bIns="40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l-NL" sz="900" u="sng">
                <a:solidFill>
                  <a:srgbClr val="0563C1"/>
                </a:solidFill>
                <a:effectLst/>
                <a:latin typeface="+mj-lt"/>
                <a:ea typeface="Calibri" panose="020F0502020204030204" pitchFamily="34" charset="0"/>
              </a:rPr>
              <a:t>info@tiobe.com</a:t>
            </a:r>
            <a:r>
              <a:rPr lang="nl" sz="900">
                <a:solidFill>
                  <a:srgbClr val="3D3F3E"/>
                </a:solidFill>
                <a:latin typeface="+mj-lt"/>
                <a:ea typeface="Roboto"/>
                <a:cs typeface="Roboto"/>
                <a:sym typeface="Roboto"/>
              </a:rPr>
              <a:t> | TIOBE Software</a:t>
            </a:r>
            <a:endParaRPr sz="900">
              <a:solidFill>
                <a:srgbClr val="3D3F3E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DE380B2-5680-4F7D-BD56-E5FCB62E8F4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669" y="0"/>
            <a:ext cx="1690128" cy="7744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16B3D2F-DDAF-6723-6ECC-53D50C52B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b="38456"/>
          <a:stretch/>
        </p:blipFill>
        <p:spPr>
          <a:xfrm>
            <a:off x="0" y="4886048"/>
            <a:ext cx="682090" cy="20989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r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/>
          </a:solidFill>
          <a:latin typeface="+mj-lt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Work Sans" panose="00000500000000000000" pitchFamily="2" charset="0"/>
          <a:ea typeface="Work Sans" panose="00000500000000000000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4660D4-B0ED-42D9-BC6D-AF4F1F9CB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73844"/>
            <a:ext cx="80010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C607AE-E8B7-4C3B-A6DA-04289E2F0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369219"/>
            <a:ext cx="80010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917CC-671D-47EA-B065-51E87EC27B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1500" y="4767263"/>
            <a:ext cx="21145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2/11/2023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D0B54-5D87-4D1B-9C6E-5A7B87C8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CADFFD-0FF7-4DDC-8879-918576F63E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1145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72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76">
          <p15:clr>
            <a:srgbClr val="5ACBF0"/>
          </p15:clr>
        </p15:guide>
        <p15:guide id="2" pos="1920">
          <p15:clr>
            <a:srgbClr val="F26B43"/>
          </p15:clr>
        </p15:guide>
        <p15:guide id="3" pos="5760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pos="1272">
          <p15:clr>
            <a:srgbClr val="9FCC3B"/>
          </p15:clr>
        </p15:guide>
        <p15:guide id="6" pos="2544">
          <p15:clr>
            <a:srgbClr val="9FCC3B"/>
          </p15:clr>
        </p15:guide>
        <p15:guide id="7" pos="5112">
          <p15:clr>
            <a:srgbClr val="9FCC3B"/>
          </p15:clr>
        </p15:guide>
        <p15:guide id="8" pos="6408">
          <p15:clr>
            <a:srgbClr val="9FCC3B"/>
          </p15:clr>
        </p15:guide>
        <p15:guide id="9" pos="3940">
          <p15:clr>
            <a:srgbClr val="F26B43"/>
          </p15:clr>
        </p15:guide>
        <p15:guide id="10" pos="7104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289323" y="4884723"/>
            <a:ext cx="403621" cy="113107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8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96300" y="-95850"/>
            <a:ext cx="9090900" cy="51246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289800" y="1027351"/>
            <a:ext cx="8154000" cy="3510122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52650"/>
            <a:ext cx="9275400" cy="5292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23" y="325041"/>
            <a:ext cx="8143875" cy="279725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23" y="1027510"/>
            <a:ext cx="8143875" cy="3509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851298" y="4888705"/>
            <a:ext cx="807402" cy="104945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525"/>
            </a:lvl1pPr>
          </a:lstStyle>
          <a:p>
            <a:pPr>
              <a:lnSpc>
                <a:spcPct val="110000"/>
              </a:lnSpc>
            </a:pPr>
            <a:fld id="{DDEC559E-07BB-4B63-8C94-01E860D56791}" type="datetime4">
              <a:rPr lang="en-US" smtClean="0"/>
              <a:pPr>
                <a:lnSpc>
                  <a:spcPct val="110000"/>
                </a:lnSpc>
              </a:pPr>
              <a:t>November 27, 2024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50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2377800" y="16977"/>
            <a:ext cx="2176200" cy="1782573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16000" rIns="216000" bIns="216000" rtlCol="0" anchor="t"/>
          <a:lstStyle/>
          <a:p>
            <a:pPr algn="l"/>
            <a:r>
              <a:rPr lang="en-US" sz="900" b="1" dirty="0"/>
              <a:t>Add image</a:t>
            </a:r>
          </a:p>
          <a:p>
            <a:pPr algn="l"/>
            <a:r>
              <a:rPr lang="en-US" sz="9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9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2377800" y="3669300"/>
            <a:ext cx="2176200" cy="14742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16000" rIns="216000" bIns="216000" rtlCol="0" anchor="ctr"/>
          <a:lstStyle/>
          <a:p>
            <a:pPr algn="l"/>
            <a:r>
              <a:rPr lang="en-US" sz="900" b="1" dirty="0"/>
              <a:t>Add footer</a:t>
            </a:r>
          </a:p>
          <a:p>
            <a:pPr algn="l"/>
            <a:r>
              <a:rPr lang="en-US" sz="900" dirty="0"/>
              <a:t>You can edit the footer (e.g. presentation description, date) using the slide via the </a:t>
            </a:r>
            <a:r>
              <a:rPr lang="en-US" sz="900" b="1" dirty="0"/>
              <a:t>empower(R) presentation settings.</a:t>
            </a:r>
          </a:p>
          <a:p>
            <a:pPr algn="l"/>
            <a:r>
              <a:rPr lang="en-US" sz="9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3800" y="4888708"/>
            <a:ext cx="6739200" cy="104943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525"/>
            </a:lvl1pPr>
          </a:lstStyle>
          <a:p>
            <a:pPr>
              <a:lnSpc>
                <a:spcPct val="110000"/>
              </a:lnSpc>
            </a:pPr>
            <a:r>
              <a:rPr lang="en-NL"/>
              <a:t> </a:t>
            </a:r>
            <a:endParaRPr lang="en-N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3401" y="4888705"/>
            <a:ext cx="491399" cy="1047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25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ECA0D5-8971-E27D-3197-AE9CFDD2F4D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916591" y="5015866"/>
            <a:ext cx="198834" cy="8079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525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662346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</p:sldLayoutIdLst>
  <p:hf hdr="0"/>
  <p:txStyles>
    <p:titleStyle>
      <a:lvl1pPr algn="l" defTabSz="280800" rtl="0" eaLnBrk="1" latinLnBrk="0" hangingPunct="1">
        <a:lnSpc>
          <a:spcPct val="100000"/>
        </a:lnSpc>
        <a:spcBef>
          <a:spcPct val="0"/>
        </a:spcBef>
        <a:spcAft>
          <a:spcPts val="553"/>
        </a:spcAft>
        <a:buNone/>
        <a:defRPr sz="18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4794" indent="-254794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05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26244" indent="-17145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110000"/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399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•"/>
        <a:defRPr sz="825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532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SzPct val="90000"/>
        <a:buFont typeface="Arial" panose="020B0604020202020204" pitchFamily="34" charset="0"/>
        <a:buChar char="•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665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675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798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931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52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Tx/>
        <a:buNone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05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266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SzPct val="110000"/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399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•"/>
        <a:defRPr sz="825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532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SzPct val="90000"/>
        <a:buFont typeface="Arial" panose="020B0604020202020204" pitchFamily="34" charset="0"/>
        <a:buChar char="•"/>
        <a:defRPr sz="7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665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675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798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93100" indent="-213300" algn="l" defTabSz="280800" rtl="0" eaLnBrk="1" latinLnBrk="0" hangingPunct="1">
        <a:lnSpc>
          <a:spcPct val="100000"/>
        </a:lnSpc>
        <a:spcBef>
          <a:spcPts val="0"/>
        </a:spcBef>
        <a:spcAft>
          <a:spcPts val="75"/>
        </a:spcAft>
        <a:buFont typeface="Arial" panose="020B0604020202020204" pitchFamily="34" charset="0"/>
        <a:buChar char="•"/>
        <a:defRPr sz="52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80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Tx/>
        <a:buNone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9" Type="http://schemas.openxmlformats.org/officeDocument/2006/relationships/image" Target="../media/image72.png"/><Relationship Id="rId21" Type="http://schemas.openxmlformats.org/officeDocument/2006/relationships/image" Target="../media/image54.png"/><Relationship Id="rId34" Type="http://schemas.openxmlformats.org/officeDocument/2006/relationships/image" Target="../media/image67.png"/><Relationship Id="rId42" Type="http://schemas.openxmlformats.org/officeDocument/2006/relationships/image" Target="../media/image75.png"/><Relationship Id="rId47" Type="http://schemas.openxmlformats.org/officeDocument/2006/relationships/image" Target="../media/image80.png"/><Relationship Id="rId50" Type="http://schemas.openxmlformats.org/officeDocument/2006/relationships/image" Target="../media/image83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9.png"/><Relationship Id="rId29" Type="http://schemas.openxmlformats.org/officeDocument/2006/relationships/image" Target="../media/image62.png"/><Relationship Id="rId11" Type="http://schemas.openxmlformats.org/officeDocument/2006/relationships/image" Target="../media/image44.png"/><Relationship Id="rId24" Type="http://schemas.openxmlformats.org/officeDocument/2006/relationships/image" Target="../media/image57.png"/><Relationship Id="rId32" Type="http://schemas.openxmlformats.org/officeDocument/2006/relationships/image" Target="../media/image65.png"/><Relationship Id="rId37" Type="http://schemas.openxmlformats.org/officeDocument/2006/relationships/image" Target="../media/image70.png"/><Relationship Id="rId40" Type="http://schemas.openxmlformats.org/officeDocument/2006/relationships/image" Target="../media/image73.png"/><Relationship Id="rId45" Type="http://schemas.openxmlformats.org/officeDocument/2006/relationships/image" Target="../media/image78.png"/><Relationship Id="rId53" Type="http://schemas.openxmlformats.org/officeDocument/2006/relationships/image" Target="../media/image86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31" Type="http://schemas.openxmlformats.org/officeDocument/2006/relationships/image" Target="../media/image64.png"/><Relationship Id="rId44" Type="http://schemas.openxmlformats.org/officeDocument/2006/relationships/image" Target="../media/image77.png"/><Relationship Id="rId52" Type="http://schemas.openxmlformats.org/officeDocument/2006/relationships/image" Target="../media/image85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35" Type="http://schemas.openxmlformats.org/officeDocument/2006/relationships/image" Target="../media/image68.png"/><Relationship Id="rId43" Type="http://schemas.openxmlformats.org/officeDocument/2006/relationships/image" Target="../media/image76.png"/><Relationship Id="rId48" Type="http://schemas.openxmlformats.org/officeDocument/2006/relationships/image" Target="../media/image81.jpeg"/><Relationship Id="rId8" Type="http://schemas.openxmlformats.org/officeDocument/2006/relationships/image" Target="../media/image41.png"/><Relationship Id="rId51" Type="http://schemas.openxmlformats.org/officeDocument/2006/relationships/image" Target="../media/image84.png"/><Relationship Id="rId3" Type="http://schemas.openxmlformats.org/officeDocument/2006/relationships/image" Target="../media/image36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38" Type="http://schemas.openxmlformats.org/officeDocument/2006/relationships/image" Target="../media/image71.png"/><Relationship Id="rId46" Type="http://schemas.openxmlformats.org/officeDocument/2006/relationships/image" Target="../media/image79.png"/><Relationship Id="rId20" Type="http://schemas.openxmlformats.org/officeDocument/2006/relationships/image" Target="../media/image53.png"/><Relationship Id="rId41" Type="http://schemas.openxmlformats.org/officeDocument/2006/relationships/image" Target="../media/image74.png"/><Relationship Id="rId54" Type="http://schemas.openxmlformats.org/officeDocument/2006/relationships/image" Target="../media/image8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36" Type="http://schemas.openxmlformats.org/officeDocument/2006/relationships/image" Target="../media/image69.png"/><Relationship Id="rId49" Type="http://schemas.openxmlformats.org/officeDocument/2006/relationships/image" Target="../media/image8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hyperlink" Target="https://iso25000.com/index.php/en/iso-25000-standards/iso-25010" TargetMode="Externa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hyperlink" Target="https://www.ida.liu.se/divisions/sas/groups/upp/info/lang/cpp/industrial-strength.pdf" TargetMode="External"/><Relationship Id="rId7" Type="http://schemas.openxmlformats.org/officeDocument/2006/relationships/image" Target="../media/image100.png"/><Relationship Id="rId2" Type="http://schemas.openxmlformats.org/officeDocument/2006/relationships/hyperlink" Target="https://www.tiobe.com/coding-standards/" TargetMode="Externa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github.com/isocpp/CppCoreGuidelines/tree/master/talks" TargetMode="External"/><Relationship Id="rId5" Type="http://schemas.openxmlformats.org/officeDocument/2006/relationships/hyperlink" Target="https://isocpp.github.io/CppCoreGuidelines/CppCoreGuidelines" TargetMode="External"/><Relationship Id="rId4" Type="http://schemas.openxmlformats.org/officeDocument/2006/relationships/hyperlink" Target="http://www.literateprogramming.com/ellemtel.pdf" TargetMode="Externa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isocpp.github.io/CppCoreGuidelines/CppCoreGuidelines#S-resource" TargetMode="External"/><Relationship Id="rId13" Type="http://schemas.openxmlformats.org/officeDocument/2006/relationships/hyperlink" Target="https://isocpp.github.io/CppCoreGuidelines/CppCoreGuidelines#S-const" TargetMode="External"/><Relationship Id="rId3" Type="http://schemas.openxmlformats.org/officeDocument/2006/relationships/hyperlink" Target="https://isocpp.github.io/CppCoreGuidelines/CppCoreGuidelines#S-philosophy" TargetMode="External"/><Relationship Id="rId7" Type="http://schemas.openxmlformats.org/officeDocument/2006/relationships/hyperlink" Target="https://isocpp.github.io/CppCoreGuidelines/CppCoreGuidelines#S-enum" TargetMode="External"/><Relationship Id="rId12" Type="http://schemas.openxmlformats.org/officeDocument/2006/relationships/hyperlink" Target="https://isocpp.github.io/CppCoreGuidelines/CppCoreGuidelines#S-errors" TargetMode="External"/><Relationship Id="rId17" Type="http://schemas.openxmlformats.org/officeDocument/2006/relationships/hyperlink" Target="https://isocpp.github.io/CppCoreGuidelines/CppCoreGuidelines#sl-the-standard-library" TargetMode="External"/><Relationship Id="rId2" Type="http://schemas.openxmlformats.org/officeDocument/2006/relationships/hyperlink" Target="https://isocpp.github.io/CppCoreGuidelines/CppCoreGuidelines#S-introduction" TargetMode="External"/><Relationship Id="rId16" Type="http://schemas.openxmlformats.org/officeDocument/2006/relationships/hyperlink" Target="https://isocpp.github.io/CppCoreGuidelines/CppCoreGuidelines#S-source" TargetMode="Externa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isocpp.github.io/CppCoreGuidelines/CppCoreGuidelines#S-class" TargetMode="External"/><Relationship Id="rId11" Type="http://schemas.openxmlformats.org/officeDocument/2006/relationships/hyperlink" Target="https://isocpp.github.io/CppCoreGuidelines/CppCoreGuidelines#S-concurrency" TargetMode="External"/><Relationship Id="rId5" Type="http://schemas.openxmlformats.org/officeDocument/2006/relationships/hyperlink" Target="https://isocpp.github.io/CppCoreGuidelines/CppCoreGuidelines#S-functions" TargetMode="External"/><Relationship Id="rId15" Type="http://schemas.openxmlformats.org/officeDocument/2006/relationships/hyperlink" Target="https://isocpp.github.io/CppCoreGuidelines/CppCoreGuidelines#S-cpl" TargetMode="External"/><Relationship Id="rId10" Type="http://schemas.openxmlformats.org/officeDocument/2006/relationships/hyperlink" Target="https://isocpp.github.io/CppCoreGuidelines/CppCoreGuidelines#S-performance" TargetMode="External"/><Relationship Id="rId4" Type="http://schemas.openxmlformats.org/officeDocument/2006/relationships/hyperlink" Target="https://isocpp.github.io/CppCoreGuidelines/CppCoreGuidelines#S-interfaces" TargetMode="External"/><Relationship Id="rId9" Type="http://schemas.openxmlformats.org/officeDocument/2006/relationships/hyperlink" Target="https://isocpp.github.io/CppCoreGuidelines/CppCoreGuidelines#S-expr" TargetMode="External"/><Relationship Id="rId14" Type="http://schemas.openxmlformats.org/officeDocument/2006/relationships/hyperlink" Target="https://isocpp.github.io/CppCoreGuidelines/CppCoreGuidelines#S-templates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5.jpeg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60.png"/><Relationship Id="rId39" Type="http://schemas.openxmlformats.org/officeDocument/2006/relationships/image" Target="../media/image73.png"/><Relationship Id="rId21" Type="http://schemas.openxmlformats.org/officeDocument/2006/relationships/image" Target="../media/image55.png"/><Relationship Id="rId34" Type="http://schemas.openxmlformats.org/officeDocument/2006/relationships/image" Target="../media/image68.png"/><Relationship Id="rId42" Type="http://schemas.openxmlformats.org/officeDocument/2006/relationships/image" Target="../media/image77.png"/><Relationship Id="rId47" Type="http://schemas.openxmlformats.org/officeDocument/2006/relationships/image" Target="../media/image82.png"/><Relationship Id="rId50" Type="http://schemas.openxmlformats.org/officeDocument/2006/relationships/image" Target="../media/image10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49.png"/><Relationship Id="rId29" Type="http://schemas.openxmlformats.org/officeDocument/2006/relationships/image" Target="../media/image63.png"/><Relationship Id="rId11" Type="http://schemas.openxmlformats.org/officeDocument/2006/relationships/image" Target="../media/image44.png"/><Relationship Id="rId24" Type="http://schemas.openxmlformats.org/officeDocument/2006/relationships/image" Target="../media/image58.png"/><Relationship Id="rId32" Type="http://schemas.openxmlformats.org/officeDocument/2006/relationships/image" Target="../media/image66.png"/><Relationship Id="rId37" Type="http://schemas.openxmlformats.org/officeDocument/2006/relationships/image" Target="../media/image71.png"/><Relationship Id="rId40" Type="http://schemas.openxmlformats.org/officeDocument/2006/relationships/image" Target="../media/image75.png"/><Relationship Id="rId45" Type="http://schemas.openxmlformats.org/officeDocument/2006/relationships/image" Target="../media/image80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23" Type="http://schemas.openxmlformats.org/officeDocument/2006/relationships/image" Target="../media/image57.png"/><Relationship Id="rId28" Type="http://schemas.openxmlformats.org/officeDocument/2006/relationships/image" Target="../media/image62.png"/><Relationship Id="rId36" Type="http://schemas.openxmlformats.org/officeDocument/2006/relationships/image" Target="../media/image70.png"/><Relationship Id="rId49" Type="http://schemas.openxmlformats.org/officeDocument/2006/relationships/image" Target="../media/image84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31" Type="http://schemas.openxmlformats.org/officeDocument/2006/relationships/image" Target="../media/image65.png"/><Relationship Id="rId44" Type="http://schemas.openxmlformats.org/officeDocument/2006/relationships/image" Target="../media/image79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6.png"/><Relationship Id="rId27" Type="http://schemas.openxmlformats.org/officeDocument/2006/relationships/image" Target="../media/image61.png"/><Relationship Id="rId30" Type="http://schemas.openxmlformats.org/officeDocument/2006/relationships/image" Target="../media/image64.png"/><Relationship Id="rId35" Type="http://schemas.openxmlformats.org/officeDocument/2006/relationships/image" Target="../media/image69.png"/><Relationship Id="rId43" Type="http://schemas.openxmlformats.org/officeDocument/2006/relationships/image" Target="../media/image78.png"/><Relationship Id="rId48" Type="http://schemas.openxmlformats.org/officeDocument/2006/relationships/image" Target="../media/image83.png"/><Relationship Id="rId8" Type="http://schemas.openxmlformats.org/officeDocument/2006/relationships/image" Target="../media/image41.png"/><Relationship Id="rId51" Type="http://schemas.openxmlformats.org/officeDocument/2006/relationships/image" Target="../media/image74.png"/><Relationship Id="rId3" Type="http://schemas.openxmlformats.org/officeDocument/2006/relationships/image" Target="../media/image36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9.png"/><Relationship Id="rId33" Type="http://schemas.openxmlformats.org/officeDocument/2006/relationships/image" Target="../media/image67.png"/><Relationship Id="rId38" Type="http://schemas.openxmlformats.org/officeDocument/2006/relationships/image" Target="../media/image72.png"/><Relationship Id="rId46" Type="http://schemas.openxmlformats.org/officeDocument/2006/relationships/image" Target="../media/image81.jpeg"/><Relationship Id="rId20" Type="http://schemas.openxmlformats.org/officeDocument/2006/relationships/image" Target="../media/image54.png"/><Relationship Id="rId41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9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1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iobe.com/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6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isocpp.org/files/papers/P3497R0.htm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0.png"/><Relationship Id="rId3" Type="http://schemas.openxmlformats.org/officeDocument/2006/relationships/image" Target="../media/image88.png"/><Relationship Id="rId7" Type="http://schemas.openxmlformats.org/officeDocument/2006/relationships/customXml" Target="../ink/ink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9.png"/><Relationship Id="rId5" Type="http://schemas.openxmlformats.org/officeDocument/2006/relationships/customXml" Target="../ink/ink1.xml"/><Relationship Id="rId10" Type="http://schemas.openxmlformats.org/officeDocument/2006/relationships/image" Target="../media/image31.png"/><Relationship Id="rId4" Type="http://schemas.openxmlformats.org/officeDocument/2006/relationships/image" Target="../media/image89.png"/><Relationship Id="rId9" Type="http://schemas.openxmlformats.org/officeDocument/2006/relationships/customXml" Target="../ink/ink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1EA09DA-4199-6143-EF9A-02489741E438}"/>
              </a:ext>
            </a:extLst>
          </p:cNvPr>
          <p:cNvSpPr/>
          <p:nvPr/>
        </p:nvSpPr>
        <p:spPr>
          <a:xfrm>
            <a:off x="457650" y="3456878"/>
            <a:ext cx="2568048" cy="46901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3C59639-AE18-4C60-AAF0-049D1EBB9F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7881" y="2187412"/>
            <a:ext cx="6598898" cy="1651747"/>
          </a:xfrm>
        </p:spPr>
        <p:txBody>
          <a:bodyPr/>
          <a:lstStyle/>
          <a:p>
            <a:r>
              <a:rPr lang="en-GB" dirty="0"/>
              <a:t>C++ Meetup Eindhoven:</a:t>
            </a:r>
            <a:br>
              <a:rPr lang="en-GB" dirty="0"/>
            </a:br>
            <a:r>
              <a:rPr lang="en-GB" dirty="0"/>
              <a:t>Writing better C++</a:t>
            </a:r>
            <a:endParaRPr lang="en-NL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3F2B5D-D38C-473A-BB50-D5FC980E6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7881" y="3886588"/>
            <a:ext cx="6182587" cy="793750"/>
          </a:xfrm>
        </p:spPr>
        <p:txBody>
          <a:bodyPr lIns="91440" tIns="45720" rIns="91440" bIns="45720" anchor="t"/>
          <a:lstStyle/>
          <a:p>
            <a:r>
              <a:rPr lang="en-GB" dirty="0">
                <a:latin typeface="Work Sans"/>
              </a:rPr>
              <a:t>Jan Wilmans, Bart van Tongeren, Paul Jansen &amp; Laurens Jansen</a:t>
            </a:r>
          </a:p>
          <a:p>
            <a:endParaRPr lang="en-GB" dirty="0">
              <a:latin typeface="Work Sans"/>
            </a:endParaRPr>
          </a:p>
          <a:p>
            <a:r>
              <a:rPr lang="en-GB" dirty="0">
                <a:latin typeface="Work Sans"/>
              </a:rPr>
              <a:t>27/11/2024</a:t>
            </a:r>
            <a:endParaRPr lang="en-NL" dirty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1754492-F9D0-5D25-D551-B5014710518F}"/>
              </a:ext>
            </a:extLst>
          </p:cNvPr>
          <p:cNvSpPr txBox="1">
            <a:spLocks/>
          </p:cNvSpPr>
          <p:nvPr/>
        </p:nvSpPr>
        <p:spPr>
          <a:xfrm>
            <a:off x="457650" y="2747600"/>
            <a:ext cx="8228700" cy="53137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NL" b="1" dirty="0">
              <a:solidFill>
                <a:srgbClr val="2E78BB"/>
              </a:solidFill>
              <a:latin typeface="Titillium Web SemiBold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4087566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3DE1AA4-0AE6-C6D5-E252-BBD5ED259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B5CEABB6-07DC-46E8-9B57-56EC44A396E5}" type="slidenum">
              <a:rPr lang="en-US" kern="1200">
                <a:solidFill>
                  <a:prstClr val="black">
                    <a:lumMod val="75000"/>
                    <a:lumOff val="25000"/>
                  </a:prstClr>
                </a:solidFill>
                <a:latin typeface="Avenir Next LT Pro"/>
                <a:ea typeface="+mn-ea"/>
                <a:cs typeface="+mn-cs"/>
              </a:rPr>
              <a:pPr defTabSz="685800">
                <a:buClrTx/>
              </a:pPr>
              <a:t>10</a:t>
            </a:fld>
            <a:endParaRPr lang="en-US" kern="1200" dirty="0">
              <a:solidFill>
                <a:prstClr val="black">
                  <a:lumMod val="75000"/>
                  <a:lumOff val="25000"/>
                </a:prstClr>
              </a:solidFill>
              <a:latin typeface="Avenir Next LT Pro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0F54E0-6C4C-7662-1687-1F81BB7C4660}"/>
              </a:ext>
            </a:extLst>
          </p:cNvPr>
          <p:cNvSpPr txBox="1"/>
          <p:nvPr/>
        </p:nvSpPr>
        <p:spPr>
          <a:xfrm>
            <a:off x="3033584" y="308919"/>
            <a:ext cx="45329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24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Why another set of guideline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738B7C-97A8-32D6-A8CA-C7D37B3BDB58}"/>
              </a:ext>
            </a:extLst>
          </p:cNvPr>
          <p:cNvSpPr txBox="1"/>
          <p:nvPr/>
        </p:nvSpPr>
        <p:spPr>
          <a:xfrm>
            <a:off x="2452817" y="1254682"/>
            <a:ext cx="6400800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I did not invent new guidelines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I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gathered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existing material,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filtered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,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simplified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and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prioritized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The simplification is key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The prioritization gives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defaults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.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endParaRPr lang="en-US" sz="15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endParaRPr lang="en-US" sz="15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In short:</a:t>
            </a:r>
          </a:p>
          <a:p>
            <a:pPr defTabSz="685800">
              <a:buClrTx/>
            </a:pPr>
            <a:endParaRPr lang="en-US" sz="15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This approach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focuses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on making guidelines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practical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and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accessible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through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simplification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 and clear </a:t>
            </a:r>
            <a:r>
              <a:rPr lang="en-US" sz="150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prioritization</a:t>
            </a:r>
            <a:r>
              <a:rPr lang="en-US" sz="15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.</a:t>
            </a:r>
          </a:p>
          <a:p>
            <a:pPr defTabSz="685800">
              <a:buClrTx/>
            </a:pPr>
            <a:endParaRPr lang="en-US" sz="15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789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A2056-79BF-14B8-7A8F-B9C2F865F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11EC09-6F64-D130-C9EA-936540D59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B5CEABB6-07DC-46E8-9B57-56EC44A396E5}" type="slidenum">
              <a:rPr lang="en-US" kern="1200">
                <a:solidFill>
                  <a:prstClr val="black">
                    <a:lumMod val="75000"/>
                    <a:lumOff val="25000"/>
                  </a:prstClr>
                </a:solidFill>
                <a:latin typeface="Avenir Next LT Pro"/>
                <a:ea typeface="+mn-ea"/>
                <a:cs typeface="+mn-cs"/>
              </a:rPr>
              <a:pPr defTabSz="685800">
                <a:buClrTx/>
              </a:pPr>
              <a:t>11</a:t>
            </a:fld>
            <a:endParaRPr lang="en-US" kern="1200" dirty="0">
              <a:solidFill>
                <a:prstClr val="black">
                  <a:lumMod val="75000"/>
                  <a:lumOff val="25000"/>
                </a:prstClr>
              </a:solidFill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256854-B0F2-E207-BF52-D18279DB2928}"/>
              </a:ext>
            </a:extLst>
          </p:cNvPr>
          <p:cNvSpPr txBox="1"/>
          <p:nvPr/>
        </p:nvSpPr>
        <p:spPr>
          <a:xfrm>
            <a:off x="2641236" y="1569874"/>
            <a:ext cx="5133444" cy="23314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14313" indent="-214313" defTabSz="685800">
              <a:buClrTx/>
              <a:buFont typeface="Arial"/>
              <a:buChar char="•"/>
            </a:pPr>
            <a:r>
              <a:rPr lang="en-US" sz="21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Understandable Maintainable code</a:t>
            </a:r>
          </a:p>
          <a:p>
            <a:pPr marL="557213" lvl="1" indent="-214313" defTabSz="685800">
              <a:buClrTx/>
              <a:buFont typeface="Arial"/>
              <a:buChar char="•"/>
            </a:pPr>
            <a:r>
              <a:rPr lang="en-US" sz="21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Readability</a:t>
            </a:r>
            <a:endParaRPr lang="en-US" sz="1350" kern="120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marL="557213" lvl="1" indent="-214313" defTabSz="685800">
              <a:buClrTx/>
              <a:buFont typeface="Arial"/>
              <a:buChar char="•"/>
            </a:pPr>
            <a:r>
              <a:rPr lang="en-US" sz="21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Local reasoning</a:t>
            </a:r>
          </a:p>
          <a:p>
            <a:pPr marL="557213" lvl="1" indent="-214313" defTabSz="685800">
              <a:buClrTx/>
              <a:buFont typeface="Arial"/>
              <a:buChar char="•"/>
            </a:pPr>
            <a:r>
              <a:rPr lang="en-US" sz="2100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Correctness </a:t>
            </a:r>
          </a:p>
          <a:p>
            <a:pPr marL="557213" lvl="1" indent="-214313" defTabSz="685800">
              <a:buClrTx/>
              <a:buFont typeface="Arial"/>
              <a:buChar char="•"/>
            </a:pPr>
            <a:endParaRPr lang="en-US" sz="21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marL="557213" lvl="1" indent="-214313" defTabSz="685800">
              <a:buClrTx/>
              <a:buFont typeface="Arial"/>
              <a:buChar char="•"/>
            </a:pPr>
            <a:endParaRPr lang="en-US" sz="21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/>
              <a:buChar char="•"/>
            </a:pPr>
            <a:endParaRPr lang="en-US" sz="2100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021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Low angle view of tall buildings">
            <a:extLst>
              <a:ext uri="{FF2B5EF4-FFF2-40B4-BE49-F238E27FC236}">
                <a16:creationId xmlns:a16="http://schemas.microsoft.com/office/drawing/2014/main" id="{1DFE730E-30E7-DA99-A3EE-ACB889D161E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43" r="43"/>
          <a:stretch/>
        </p:blipFill>
        <p:spPr>
          <a:xfrm>
            <a:off x="0" y="-1"/>
            <a:ext cx="3057089" cy="4572509"/>
          </a:xfr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5F855448-57DF-E468-AF41-00CAAC2D7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4421609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52FDA21-768F-9929-E6D6-D78CD4F8E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1432202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7097222-3DD9-F502-648F-BE13CF0A94BA}"/>
              </a:ext>
            </a:extLst>
          </p:cNvPr>
          <p:cNvSpPr txBox="1"/>
          <p:nvPr/>
        </p:nvSpPr>
        <p:spPr>
          <a:xfrm>
            <a:off x="3289413" y="97105"/>
            <a:ext cx="209956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b="1" kern="1200" dirty="0">
                <a:solidFill>
                  <a:prstClr val="white"/>
                </a:solidFill>
                <a:latin typeface="-apple-system"/>
                <a:ea typeface="+mn-ea"/>
                <a:cs typeface="+mn-cs"/>
              </a:rPr>
              <a:t>Highest Level Summary</a:t>
            </a:r>
          </a:p>
          <a:p>
            <a:pPr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E7F58F-8404-080A-17AC-BC5BAF1FB1F7}"/>
              </a:ext>
            </a:extLst>
          </p:cNvPr>
          <p:cNvSpPr txBox="1"/>
          <p:nvPr/>
        </p:nvSpPr>
        <p:spPr>
          <a:xfrm>
            <a:off x="3144053" y="680115"/>
            <a:ext cx="588572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urn on warnings! and use sanitizers 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global mutable state 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Keep the scope of variables and type declarations as limited as possible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Initialize all variables at declaration 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Use const whenever you can </a:t>
            </a:r>
          </a:p>
          <a:p>
            <a:pPr defTabSz="685800">
              <a:buClrTx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	(but no const for member variables and return types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Use [[nodiscard]] for all const member functions returning a value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returning values using arguments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Use automatic resource management (RAII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Follow the rule of 0 or the rule of 5 in that order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owning raw pointers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manual memory management using new, delete, malloc, free, etc.</a:t>
            </a:r>
          </a:p>
          <a:p>
            <a:pPr marL="342900" lvl="1" defTabSz="685800">
              <a:buClrTx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	(when working with Qt the use of the new keyword explicitly allowed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Do not use C-style casts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Do not add member variables to classes used as interfaces. (Interfaces are defined as pure virtual classes that have a virtual = default destructor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Do not use protected member variables.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the use of volatile, const_cast, reinterpret_cast, typedef, register, extern, protected or va_arg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Make all destructors of classes used in runtime polymorphism virtual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void references as data members of a class</a:t>
            </a:r>
          </a:p>
        </p:txBody>
      </p:sp>
    </p:spTree>
    <p:extLst>
      <p:ext uri="{BB962C8B-B14F-4D97-AF65-F5344CB8AC3E}">
        <p14:creationId xmlns:p14="http://schemas.microsoft.com/office/powerpoint/2010/main" val="1329539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B9BE0-2A68-1BE5-57D5-77DD97481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Low angle view of tall buildings">
            <a:extLst>
              <a:ext uri="{FF2B5EF4-FFF2-40B4-BE49-F238E27FC236}">
                <a16:creationId xmlns:a16="http://schemas.microsoft.com/office/drawing/2014/main" id="{B404F3BD-C3A7-4B45-B252-AFBED9CB5B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43" r="43"/>
          <a:stretch/>
        </p:blipFill>
        <p:spPr>
          <a:xfrm>
            <a:off x="0" y="-1"/>
            <a:ext cx="3057089" cy="4572509"/>
          </a:xfr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89D9FA41-2B6D-54C0-FF47-FFA21B4F8D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4421609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A394D36-F8E4-CDA5-B841-C572FC2295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1432202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0317552-1F61-068D-38F5-6A8000F60C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8326" y="49763"/>
            <a:ext cx="6950172" cy="5043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40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57A51-E0E8-3209-EA64-D91324495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25271" y="408214"/>
            <a:ext cx="4946076" cy="542926"/>
          </a:xfrm>
        </p:spPr>
        <p:txBody>
          <a:bodyPr>
            <a:normAutofit fontScale="90000"/>
          </a:bodyPr>
          <a:lstStyle/>
          <a:p>
            <a:r>
              <a:rPr lang="en-US" dirty="0"/>
              <a:t>Discus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67F0E9-C9D7-2079-ED12-4F9CD3E44B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7144" y="1349416"/>
            <a:ext cx="4946076" cy="1463642"/>
          </a:xfrm>
        </p:spPr>
        <p:txBody>
          <a:bodyPr vert="horz" lIns="68580" tIns="34290" rIns="68580" bIns="34290" rtlCol="0" anchor="t">
            <a:normAutofit/>
          </a:bodyPr>
          <a:lstStyle/>
          <a:p>
            <a:r>
              <a:rPr lang="en-US" dirty="0"/>
              <a:t>What are the most valuable defaults?</a:t>
            </a:r>
          </a:p>
        </p:txBody>
      </p:sp>
    </p:spTree>
    <p:extLst>
      <p:ext uri="{BB962C8B-B14F-4D97-AF65-F5344CB8AC3E}">
        <p14:creationId xmlns:p14="http://schemas.microsoft.com/office/powerpoint/2010/main" val="20400399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58D78A5-8D26-46D3-0A50-B3E82A7EF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3658" y="303237"/>
            <a:ext cx="4980280" cy="4366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15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D1AF9-9CA0-1E3C-82C4-1A7D31C3A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8FB1CAC-A9A3-C06D-3388-31605A419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950" y="3692730"/>
            <a:ext cx="5237456" cy="1261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39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9E401-981B-8781-9787-6B610E013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B54FE7E-F0A2-A8BA-21E7-4FC695980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950" y="3692730"/>
            <a:ext cx="5237456" cy="12610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BE81ED-6B03-FFEF-E674-D92458AB92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3950" y="292483"/>
            <a:ext cx="5237456" cy="324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450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36F0C-DCD6-BE05-767A-B89481421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630C9B-D624-FBE7-F443-5EF7E065A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72084"/>
            <a:ext cx="4941863" cy="1491530"/>
          </a:xfrm>
        </p:spPr>
        <p:txBody>
          <a:bodyPr/>
          <a:lstStyle/>
          <a:p>
            <a:r>
              <a:rPr lang="en-US" dirty="0"/>
              <a:t>Take-aways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4DCECE-DE4D-1453-89F7-3ABB418F4EC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40599" y="1999678"/>
            <a:ext cx="5230489" cy="2471738"/>
          </a:xfrm>
        </p:spPr>
        <p:txBody>
          <a:bodyPr vert="horz" lIns="68580" tIns="34290" rIns="68580" bIns="34290" rtlCol="0" anchor="t">
            <a:normAutofit/>
          </a:bodyPr>
          <a:lstStyle/>
          <a:p>
            <a:r>
              <a:rPr lang="en-US" sz="1800" dirty="0"/>
              <a:t>I hope I convinced you that: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800" b="1" dirty="0"/>
              <a:t>defaults</a:t>
            </a:r>
            <a:r>
              <a:rPr lang="en-US" sz="1800" dirty="0"/>
              <a:t> are better than just guidelin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800" b="1" dirty="0"/>
              <a:t>shaded defaults </a:t>
            </a:r>
            <a:r>
              <a:rPr lang="en-US" sz="1800" dirty="0"/>
              <a:t>are better still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E56572-F539-34E8-EB58-19E0F712A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B5CEABB6-07DC-46E8-9B57-56EC44A396E5}" type="slidenum">
              <a:rPr lang="en-US" kern="120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pPr defTabSz="685800">
                <a:buClrTx/>
              </a:pPr>
              <a:t>18</a:t>
            </a:fld>
            <a:endParaRPr lang="en-US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9730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CAEE93-8585-46D4-A7EC-F184E317CB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5184" y="408214"/>
            <a:ext cx="4146163" cy="2014037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AFFC60-19C3-4901-93F7-7AAF4C09F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2255" y="2567830"/>
            <a:ext cx="4146163" cy="1522477"/>
          </a:xfrm>
        </p:spPr>
        <p:txBody>
          <a:bodyPr vert="horz" lIns="91440" tIns="45720" rIns="91440" bIns="0" rtlCol="0">
            <a:normAutofit/>
          </a:bodyPr>
          <a:lstStyle/>
          <a:p>
            <a:r>
              <a:rPr lang="en-US" dirty="0"/>
              <a:t>Jan Wilmans</a:t>
            </a:r>
          </a:p>
          <a:p>
            <a:r>
              <a:rPr lang="en-US" dirty="0"/>
              <a:t>website: nullptr.nl</a:t>
            </a:r>
          </a:p>
          <a:p>
            <a:r>
              <a:rPr lang="en-US" dirty="0"/>
              <a:t>twitter: @janwilma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32B9D7-809D-4C75-4954-F2FB33DA8EB4}"/>
              </a:ext>
            </a:extLst>
          </p:cNvPr>
          <p:cNvSpPr txBox="1"/>
          <p:nvPr/>
        </p:nvSpPr>
        <p:spPr>
          <a:xfrm>
            <a:off x="1594636" y="408214"/>
            <a:ext cx="546364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defTabSz="685800">
              <a:buClrTx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he Default Guidelines can be found here:</a:t>
            </a:r>
          </a:p>
          <a:p>
            <a:pPr marL="685800" lvl="2" defTabSz="685800">
              <a:buClrTx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https://github.com/janwilmans/guidelines</a:t>
            </a:r>
          </a:p>
        </p:txBody>
      </p:sp>
    </p:spTree>
    <p:extLst>
      <p:ext uri="{BB962C8B-B14F-4D97-AF65-F5344CB8AC3E}">
        <p14:creationId xmlns:p14="http://schemas.microsoft.com/office/powerpoint/2010/main" val="2436493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1990FC9-FFF9-4A4D-BB77-D00E08710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anies</a:t>
            </a:r>
            <a:endParaRPr lang="en-NL"/>
          </a:p>
        </p:txBody>
      </p:sp>
      <p:pic>
        <p:nvPicPr>
          <p:cNvPr id="48" name="Google Shape;117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F708D82-B621-44A1-8F77-330E3ADB9C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5146" y="375446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Google Shape;118;p3" descr="Logo, company name&#10;&#10;Description automatically generated">
            <a:extLst>
              <a:ext uri="{FF2B5EF4-FFF2-40B4-BE49-F238E27FC236}">
                <a16:creationId xmlns:a16="http://schemas.microsoft.com/office/drawing/2014/main" id="{5152AD8A-78C1-43AA-AB2F-7B0FC404F30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7747" y="317602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Google Shape;119;p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CBB6A81-8307-4B7B-8302-549355B5912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40136" y="259693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120;p3" descr="Logo&#10;&#10;Description automatically generated">
            <a:extLst>
              <a:ext uri="{FF2B5EF4-FFF2-40B4-BE49-F238E27FC236}">
                <a16:creationId xmlns:a16="http://schemas.microsoft.com/office/drawing/2014/main" id="{6F6EA47E-7398-49CC-8376-72F9C0BFA40B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874670" y="89583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121;p3" descr="A blue and white sign&#10;&#10;Description automatically generated with low confidence">
            <a:extLst>
              <a:ext uri="{FF2B5EF4-FFF2-40B4-BE49-F238E27FC236}">
                <a16:creationId xmlns:a16="http://schemas.microsoft.com/office/drawing/2014/main" id="{D17ED24B-5435-4E36-B150-19D710B104E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100470" y="466829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122;p3" descr="Logo, company name&#10;&#10;Description automatically generated">
            <a:extLst>
              <a:ext uri="{FF2B5EF4-FFF2-40B4-BE49-F238E27FC236}">
                <a16:creationId xmlns:a16="http://schemas.microsoft.com/office/drawing/2014/main" id="{12CDDC9E-2BF1-48D7-84C7-3CBD406A53C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31825" y="135967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123;p3" descr="Logo, company name&#10;&#10;Description automatically generated">
            <a:extLst>
              <a:ext uri="{FF2B5EF4-FFF2-40B4-BE49-F238E27FC236}">
                <a16:creationId xmlns:a16="http://schemas.microsoft.com/office/drawing/2014/main" id="{ED74F158-AE01-4D37-A5FF-A5441D96E30D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147642" y="3108843"/>
            <a:ext cx="1040250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125;p3" descr="Logo, company name&#10;&#10;Description automatically generated">
            <a:extLst>
              <a:ext uri="{FF2B5EF4-FFF2-40B4-BE49-F238E27FC236}">
                <a16:creationId xmlns:a16="http://schemas.microsoft.com/office/drawing/2014/main" id="{15251F50-EF82-4D52-85E9-1C492B04C549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52223" y="1778425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126;p3" descr="Logo&#10;&#10;Description automatically generated">
            <a:extLst>
              <a:ext uri="{FF2B5EF4-FFF2-40B4-BE49-F238E27FC236}">
                <a16:creationId xmlns:a16="http://schemas.microsoft.com/office/drawing/2014/main" id="{C42C518D-A92A-4C3B-B70E-39F93524F751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367319" y="371051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127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9A4074B-52E7-43B5-AD6B-7C73DA749DA1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258851" y="92180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130;p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D2EA855E-89C8-4FC8-B76F-CD5AF11BB04D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543159" y="1514318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131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C27C038-AB1D-4CB4-A32B-F07170585352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6009728" y="3323167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132;p3" descr="Logo, company name&#10;&#10;Description automatically generated">
            <a:extLst>
              <a:ext uri="{FF2B5EF4-FFF2-40B4-BE49-F238E27FC236}">
                <a16:creationId xmlns:a16="http://schemas.microsoft.com/office/drawing/2014/main" id="{1CCF3739-1123-49CD-878A-3106D56DBDE7}"/>
              </a:ext>
            </a:extLst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535692" y="2237971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135;p3" descr="Icon&#10;&#10;Description automatically generated">
            <a:extLst>
              <a:ext uri="{FF2B5EF4-FFF2-40B4-BE49-F238E27FC236}">
                <a16:creationId xmlns:a16="http://schemas.microsoft.com/office/drawing/2014/main" id="{FAFE1A20-50C4-40C2-B98C-86B320D6818F}"/>
              </a:ext>
            </a:extLst>
          </p:cNvPr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6446819" y="413265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136;p3" descr="Icon&#10;&#10;Description automatically generated">
            <a:extLst>
              <a:ext uri="{FF2B5EF4-FFF2-40B4-BE49-F238E27FC236}">
                <a16:creationId xmlns:a16="http://schemas.microsoft.com/office/drawing/2014/main" id="{9DEF1E9A-59C3-49FC-BBF4-9B5C5BE26662}"/>
              </a:ext>
            </a:extLst>
          </p:cNvPr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2760795" y="186199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8" name="Google Shape;137;p3" descr="Logo&#10;&#10;Description automatically generated">
            <a:extLst>
              <a:ext uri="{FF2B5EF4-FFF2-40B4-BE49-F238E27FC236}">
                <a16:creationId xmlns:a16="http://schemas.microsoft.com/office/drawing/2014/main" id="{8D83DA7A-9743-4009-96B7-47E2A2369F24}"/>
              </a:ext>
            </a:extLst>
          </p:cNvPr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1570936" y="268122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9" name="Google Shape;138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518F1CC-BED2-422C-8106-086C286E722F}"/>
              </a:ext>
            </a:extLst>
          </p:cNvPr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4352977" y="416415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139;p3" descr="Logo, company name&#10;&#10;Description automatically generated">
            <a:extLst>
              <a:ext uri="{FF2B5EF4-FFF2-40B4-BE49-F238E27FC236}">
                <a16:creationId xmlns:a16="http://schemas.microsoft.com/office/drawing/2014/main" id="{6BA514B0-2F04-48B4-95B6-9BE5B8836B5F}"/>
              </a:ext>
            </a:extLst>
          </p:cNvPr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4527830" y="3805497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140;p3" descr="A picture containing text&#10;&#10;Description automatically generated">
            <a:extLst>
              <a:ext uri="{FF2B5EF4-FFF2-40B4-BE49-F238E27FC236}">
                <a16:creationId xmlns:a16="http://schemas.microsoft.com/office/drawing/2014/main" id="{69837B65-03CE-40A5-84B1-1EFD47490846}"/>
              </a:ext>
            </a:extLst>
          </p:cNvPr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3845925" y="326652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141;p3" descr="Logo, company name&#10;&#10;Description automatically generated">
            <a:extLst>
              <a:ext uri="{FF2B5EF4-FFF2-40B4-BE49-F238E27FC236}">
                <a16:creationId xmlns:a16="http://schemas.microsoft.com/office/drawing/2014/main" id="{95647916-0693-4EBC-8F57-5372870906E0}"/>
              </a:ext>
            </a:extLst>
          </p:cNvPr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793373" y="464848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142;p3" descr="Logo&#10;&#10;Description automatically generated with medium confidence">
            <a:extLst>
              <a:ext uri="{FF2B5EF4-FFF2-40B4-BE49-F238E27FC236}">
                <a16:creationId xmlns:a16="http://schemas.microsoft.com/office/drawing/2014/main" id="{C04DFB6A-52EA-4F85-B067-08CC93969EB0}"/>
              </a:ext>
            </a:extLst>
          </p:cNvPr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2762209" y="273366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143;p3" descr="Logo, company name&#10;&#10;Description automatically generated">
            <a:extLst>
              <a:ext uri="{FF2B5EF4-FFF2-40B4-BE49-F238E27FC236}">
                <a16:creationId xmlns:a16="http://schemas.microsoft.com/office/drawing/2014/main" id="{A02D31E0-63E3-45F6-AA81-ED99D762E011}"/>
              </a:ext>
            </a:extLst>
          </p:cNvPr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4162722" y="465518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146;p3" descr="Logo&#10;&#10;Description automatically generated">
            <a:extLst>
              <a:ext uri="{FF2B5EF4-FFF2-40B4-BE49-F238E27FC236}">
                <a16:creationId xmlns:a16="http://schemas.microsoft.com/office/drawing/2014/main" id="{6F42CA14-2EC5-425A-B26C-FD548F6DD602}"/>
              </a:ext>
            </a:extLst>
          </p:cNvPr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5486470" y="4156210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147;p3" descr="A picture containing icon&#10;&#10;Description automatically generated">
            <a:extLst>
              <a:ext uri="{FF2B5EF4-FFF2-40B4-BE49-F238E27FC236}">
                <a16:creationId xmlns:a16="http://schemas.microsoft.com/office/drawing/2014/main" id="{F9064B3A-B251-4A78-A98A-D84787128CAC}"/>
              </a:ext>
            </a:extLst>
          </p:cNvPr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4121630" y="157909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149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1BBEDB0-3241-44FB-A7BF-79E387D2F562}"/>
              </a:ext>
            </a:extLst>
          </p:cNvPr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97680" y="2202289"/>
            <a:ext cx="872252" cy="340278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Google Shape;150;p3" descr="Logo&#10;&#10;Description automatically generated with medium confidence">
            <a:extLst>
              <a:ext uri="{FF2B5EF4-FFF2-40B4-BE49-F238E27FC236}">
                <a16:creationId xmlns:a16="http://schemas.microsoft.com/office/drawing/2014/main" id="{3212A11A-A6FE-47B2-8BDA-500D3E2E8C18}"/>
              </a:ext>
            </a:extLst>
          </p:cNvPr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4063651" y="102329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2" name="Google Shape;151;p3">
            <a:extLst>
              <a:ext uri="{FF2B5EF4-FFF2-40B4-BE49-F238E27FC236}">
                <a16:creationId xmlns:a16="http://schemas.microsoft.com/office/drawing/2014/main" id="{6DCA5098-983B-4A84-8BDE-CFF7357910A4}"/>
              </a:ext>
            </a:extLst>
          </p:cNvPr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2485230" y="3689689"/>
            <a:ext cx="648742" cy="526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152;p3">
            <a:extLst>
              <a:ext uri="{FF2B5EF4-FFF2-40B4-BE49-F238E27FC236}">
                <a16:creationId xmlns:a16="http://schemas.microsoft.com/office/drawing/2014/main" id="{8431921D-CCC0-4414-8760-6148446A4779}"/>
              </a:ext>
            </a:extLst>
          </p:cNvPr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141568" y="4335627"/>
            <a:ext cx="1150454" cy="270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153;p3">
            <a:extLst>
              <a:ext uri="{FF2B5EF4-FFF2-40B4-BE49-F238E27FC236}">
                <a16:creationId xmlns:a16="http://schemas.microsoft.com/office/drawing/2014/main" id="{D79F6825-9400-459D-8C51-A07721C00884}"/>
              </a:ext>
            </a:extLst>
          </p:cNvPr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2726568" y="1388053"/>
            <a:ext cx="1194356" cy="3213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154;p3">
            <a:extLst>
              <a:ext uri="{FF2B5EF4-FFF2-40B4-BE49-F238E27FC236}">
                <a16:creationId xmlns:a16="http://schemas.microsoft.com/office/drawing/2014/main" id="{6C0084BF-8097-4C7D-92F1-6C8EF139FF9C}"/>
              </a:ext>
            </a:extLst>
          </p:cNvPr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5719260" y="3698352"/>
            <a:ext cx="662976" cy="559916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Picture 2">
            <a:extLst>
              <a:ext uri="{FF2B5EF4-FFF2-40B4-BE49-F238E27FC236}">
                <a16:creationId xmlns:a16="http://schemas.microsoft.com/office/drawing/2014/main" id="{849EBFAE-F93F-4CF9-8A08-C8DAE3183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727" y="2704869"/>
            <a:ext cx="673770" cy="410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Google Shape;111;p3">
            <a:extLst>
              <a:ext uri="{FF2B5EF4-FFF2-40B4-BE49-F238E27FC236}">
                <a16:creationId xmlns:a16="http://schemas.microsoft.com/office/drawing/2014/main" id="{A085CB2E-19A2-40B0-8BEA-B9BA89E1FC28}"/>
              </a:ext>
            </a:extLst>
          </p:cNvPr>
          <p:cNvSpPr/>
          <p:nvPr/>
        </p:nvSpPr>
        <p:spPr>
          <a:xfrm>
            <a:off x="5409988" y="939991"/>
            <a:ext cx="3502187" cy="2114802"/>
          </a:xfrm>
          <a:prstGeom prst="roundRect">
            <a:avLst>
              <a:gd name="adj" fmla="val 6200"/>
            </a:avLst>
          </a:prstGeom>
          <a:solidFill>
            <a:srgbClr val="24292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rPr>
              <a:t>  </a:t>
            </a:r>
            <a:endParaRPr lang="en-US" sz="1800">
              <a:latin typeface="+mj-lt"/>
              <a:ea typeface="Roboto Light"/>
              <a:cs typeface="Roboto Light"/>
              <a:sym typeface="Roboto Light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00A616C-06F2-4506-B980-EA2ADA296F68}"/>
              </a:ext>
            </a:extLst>
          </p:cNvPr>
          <p:cNvSpPr txBox="1"/>
          <p:nvPr/>
        </p:nvSpPr>
        <p:spPr>
          <a:xfrm>
            <a:off x="5659739" y="1491864"/>
            <a:ext cx="3154680" cy="141577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Blip>
                <a:blip r:embed="rId34"/>
              </a:buBlip>
            </a:pPr>
            <a:r>
              <a:rPr lang="en-US" i="0" u="none" strike="noStrike" cap="none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Over </a:t>
            </a:r>
            <a:r>
              <a:rPr lang="en-US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8,300</a:t>
            </a:r>
            <a:r>
              <a:rPr lang="en-US" i="0" u="none" strike="noStrike" cap="none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 projects</a:t>
            </a:r>
            <a:endParaRPr lang="en-US">
              <a:solidFill>
                <a:schemeClr val="lt1"/>
              </a:solidFill>
              <a:latin typeface="+mn-lt"/>
              <a:ea typeface="Roboto Light"/>
              <a:cs typeface="Roboto Light"/>
              <a:sym typeface="Roboto Light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Blip>
                <a:blip r:embed="rId34"/>
              </a:buBlip>
            </a:pPr>
            <a:r>
              <a:rPr lang="en-US" i="0" u="none" strike="noStrike" cap="none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More than 1 billion LOC</a:t>
            </a:r>
            <a:endParaRPr lang="en-US">
              <a:solidFill>
                <a:schemeClr val="lt1"/>
              </a:solidFill>
              <a:latin typeface="+mn-lt"/>
              <a:ea typeface="Roboto Light"/>
              <a:cs typeface="Roboto Light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Blip>
                <a:blip r:embed="rId34"/>
              </a:buBlip>
            </a:pPr>
            <a:r>
              <a:rPr lang="en-US" i="0" u="none" strike="noStrike" cap="none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World-wide customers</a:t>
            </a:r>
            <a:endParaRPr lang="en-US">
              <a:solidFill>
                <a:schemeClr val="lt1"/>
              </a:solidFill>
              <a:latin typeface="+mn-lt"/>
              <a:ea typeface="Roboto Light"/>
              <a:cs typeface="Roboto Light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Blip>
                <a:blip r:embed="rId34"/>
              </a:buBlip>
            </a:pPr>
            <a:r>
              <a:rPr lang="en-US" i="0" u="none" strike="noStrike" cap="none">
                <a:solidFill>
                  <a:schemeClr val="lt1"/>
                </a:solidFill>
                <a:latin typeface="+mn-lt"/>
                <a:ea typeface="Roboto Light"/>
                <a:cs typeface="Roboto Light"/>
                <a:sym typeface="Roboto Light"/>
              </a:rPr>
              <a:t>Across all domains</a:t>
            </a:r>
            <a:endParaRPr lang="en-US" i="0" u="none" strike="noStrike" cap="none">
              <a:solidFill>
                <a:schemeClr val="lt1"/>
              </a:solidFill>
              <a:latin typeface="+mn-lt"/>
              <a:ea typeface="Roboto Light"/>
              <a:cs typeface="Roboto Light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EA066AF-0A24-480D-BAF3-00DBB9F742F7}"/>
              </a:ext>
            </a:extLst>
          </p:cNvPr>
          <p:cNvSpPr txBox="1"/>
          <p:nvPr/>
        </p:nvSpPr>
        <p:spPr>
          <a:xfrm>
            <a:off x="5471094" y="1067224"/>
            <a:ext cx="33433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solidFill>
                  <a:schemeClr val="lt1"/>
                </a:solidFill>
                <a:latin typeface="+mj-lt"/>
                <a:ea typeface="Roboto Light"/>
                <a:cs typeface="Roboto Light"/>
                <a:sym typeface="Roboto Light"/>
              </a:rPr>
              <a:t>Strong customer base</a:t>
            </a:r>
            <a:endParaRPr lang="en-NL" sz="1800"/>
          </a:p>
        </p:txBody>
      </p:sp>
      <p:pic>
        <p:nvPicPr>
          <p:cNvPr id="1026" name="Picture 2" descr="Desk Phones, VoIP Office Phones, and Headsets | Voxtell">
            <a:extLst>
              <a:ext uri="{FF2B5EF4-FFF2-40B4-BE49-F238E27FC236}">
                <a16:creationId xmlns:a16="http://schemas.microsoft.com/office/drawing/2014/main" id="{B5D9B8A9-95DE-E30E-2B99-5AAB658F9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26622" y="2084744"/>
            <a:ext cx="178321" cy="12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eutsche Bundesbank - Wikipedia">
            <a:extLst>
              <a:ext uri="{FF2B5EF4-FFF2-40B4-BE49-F238E27FC236}">
                <a16:creationId xmlns:a16="http://schemas.microsoft.com/office/drawing/2014/main" id="{BD066710-78BC-3A6D-45ED-DD586C582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8752" y="2017906"/>
            <a:ext cx="1206201" cy="46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ptiv | Home - Global Technology Company">
            <a:extLst>
              <a:ext uri="{FF2B5EF4-FFF2-40B4-BE49-F238E27FC236}">
                <a16:creationId xmlns:a16="http://schemas.microsoft.com/office/drawing/2014/main" id="{91D919DF-34A4-71B6-788A-59400DD3B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890" y="3213658"/>
            <a:ext cx="1490227" cy="33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AB7F8B1C-7555-A0CC-E16E-41A3B4BF115C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430453" y="4326984"/>
            <a:ext cx="1269802" cy="263259"/>
          </a:xfrm>
          <a:prstGeom prst="rect">
            <a:avLst/>
          </a:prstGeom>
        </p:spPr>
      </p:pic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3726A59A-204E-2275-EDA0-34FD0B69F3F2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407986" y="4552769"/>
            <a:ext cx="1064419" cy="565071"/>
          </a:xfrm>
          <a:prstGeom prst="rect">
            <a:avLst/>
          </a:prstGeom>
        </p:spPr>
      </p:pic>
      <p:pic>
        <p:nvPicPr>
          <p:cNvPr id="8" name="Picture 7" descr="Gamania - Wikipedia">
            <a:extLst>
              <a:ext uri="{FF2B5EF4-FFF2-40B4-BE49-F238E27FC236}">
                <a16:creationId xmlns:a16="http://schemas.microsoft.com/office/drawing/2014/main" id="{5F64CF44-2A02-14C3-9194-C65FE78B71C4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1697106" y="3752622"/>
            <a:ext cx="506897" cy="439851"/>
          </a:xfrm>
          <a:prstGeom prst="rect">
            <a:avLst/>
          </a:prstGeom>
        </p:spPr>
      </p:pic>
      <p:pic>
        <p:nvPicPr>
          <p:cNvPr id="9" name="Picture 8" descr="Sorama's System Turns Precise Sound &amp; Vibration Measurements Into IR-Like  Images | Tom's Hardware">
            <a:extLst>
              <a:ext uri="{FF2B5EF4-FFF2-40B4-BE49-F238E27FC236}">
                <a16:creationId xmlns:a16="http://schemas.microsoft.com/office/drawing/2014/main" id="{6E5CA2F1-0F47-8399-044C-FB2287D6F3C2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3692031" y="4269286"/>
            <a:ext cx="773714" cy="374995"/>
          </a:xfrm>
          <a:prstGeom prst="rect">
            <a:avLst/>
          </a:prstGeom>
        </p:spPr>
      </p:pic>
      <p:pic>
        <p:nvPicPr>
          <p:cNvPr id="11" name="Picture 10" descr="A logo with a letter s&#10;&#10;Description automatically generated">
            <a:extLst>
              <a:ext uri="{FF2B5EF4-FFF2-40B4-BE49-F238E27FC236}">
                <a16:creationId xmlns:a16="http://schemas.microsoft.com/office/drawing/2014/main" id="{DA46737D-A48B-318A-CEAE-4C0412BB8B18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274569" y="3128247"/>
            <a:ext cx="674618" cy="570448"/>
          </a:xfrm>
          <a:prstGeom prst="rect">
            <a:avLst/>
          </a:prstGeom>
        </p:spPr>
      </p:pic>
      <p:pic>
        <p:nvPicPr>
          <p:cNvPr id="4" name="Picture 3" descr="File:Karl Storz Endoskope logo.svg - Wikimedia Commons">
            <a:extLst>
              <a:ext uri="{FF2B5EF4-FFF2-40B4-BE49-F238E27FC236}">
                <a16:creationId xmlns:a16="http://schemas.microsoft.com/office/drawing/2014/main" id="{F936B851-465E-DD62-9C04-E74FDC473540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005052" y="3456137"/>
            <a:ext cx="811283" cy="292162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2E80EBD-5A1D-41F9-A97C-09DDC7CF9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157" y="1032543"/>
            <a:ext cx="1179520" cy="35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nexis Logo PNG Vectors Free Download">
            <a:extLst>
              <a:ext uri="{FF2B5EF4-FFF2-40B4-BE49-F238E27FC236}">
                <a16:creationId xmlns:a16="http://schemas.microsoft.com/office/drawing/2014/main" id="{D3752825-FB7A-8C22-B994-F60654FEBE38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847096" y="2215534"/>
            <a:ext cx="1294398" cy="441720"/>
          </a:xfrm>
          <a:prstGeom prst="rect">
            <a:avLst/>
          </a:prstGeom>
        </p:spPr>
      </p:pic>
      <p:pic>
        <p:nvPicPr>
          <p:cNvPr id="12" name="Picture 11" descr="Koninklijke Schiphol Group kiest voor Berenschot &amp; eelloo">
            <a:extLst>
              <a:ext uri="{FF2B5EF4-FFF2-40B4-BE49-F238E27FC236}">
                <a16:creationId xmlns:a16="http://schemas.microsoft.com/office/drawing/2014/main" id="{25BCCC37-FD2E-5053-EDF3-D0A1E45F4B62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8020410" y="3225158"/>
            <a:ext cx="1125747" cy="605900"/>
          </a:xfrm>
          <a:prstGeom prst="rect">
            <a:avLst/>
          </a:prstGeom>
        </p:spPr>
      </p:pic>
      <p:pic>
        <p:nvPicPr>
          <p:cNvPr id="18" name="Picture 17" descr="한국신용정보 - 한국신용정보">
            <a:extLst>
              <a:ext uri="{FF2B5EF4-FFF2-40B4-BE49-F238E27FC236}">
                <a16:creationId xmlns:a16="http://schemas.microsoft.com/office/drawing/2014/main" id="{B842A703-8FFE-FA38-91D3-C03E9E946FB3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208671" y="4277693"/>
            <a:ext cx="1039484" cy="468415"/>
          </a:xfrm>
          <a:prstGeom prst="rect">
            <a:avLst/>
          </a:prstGeom>
        </p:spPr>
      </p:pic>
      <p:pic>
        <p:nvPicPr>
          <p:cNvPr id="1034" name="Picture 10" descr="Navico-Group-Logo - Fishing Tackle Retailer">
            <a:extLst>
              <a:ext uri="{FF2B5EF4-FFF2-40B4-BE49-F238E27FC236}">
                <a16:creationId xmlns:a16="http://schemas.microsoft.com/office/drawing/2014/main" id="{3B17E392-754F-D412-8E12-7E442F89C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055" y="4306077"/>
            <a:ext cx="921859" cy="55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4C39B0FD-7480-0EFA-0A54-5AD612446E1A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582647" y="4604051"/>
            <a:ext cx="806727" cy="473351"/>
          </a:xfrm>
          <a:prstGeom prst="rect">
            <a:avLst/>
          </a:prstGeom>
        </p:spPr>
      </p:pic>
      <p:pic>
        <p:nvPicPr>
          <p:cNvPr id="17" name="Picture 1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BC8C564-3C4D-4ABA-4C80-CAAA6B30D6FD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7784166" y="3763474"/>
            <a:ext cx="1127904" cy="452168"/>
          </a:xfrm>
          <a:prstGeom prst="rect">
            <a:avLst/>
          </a:prstGeom>
        </p:spPr>
      </p:pic>
      <p:pic>
        <p:nvPicPr>
          <p:cNvPr id="76" name="Google Shape;145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5B05F03-10B4-4F6E-889D-55AACAA2C61F}"/>
              </a:ext>
            </a:extLst>
          </p:cNvPr>
          <p:cNvPicPr preferRelativeResize="0"/>
          <p:nvPr/>
        </p:nvPicPr>
        <p:blipFill rotWithShape="1">
          <a:blip r:embed="rId51">
            <a:alphaModFix/>
          </a:blip>
          <a:srcRect/>
          <a:stretch/>
        </p:blipFill>
        <p:spPr>
          <a:xfrm>
            <a:off x="6596443" y="369789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Robin Radar Systems B.V - Wind &amp; water works">
            <a:extLst>
              <a:ext uri="{FF2B5EF4-FFF2-40B4-BE49-F238E27FC236}">
                <a16:creationId xmlns:a16="http://schemas.microsoft.com/office/drawing/2014/main" id="{DB194C2C-E92D-2ED3-90B3-EA0EC623EF61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2874777" y="4290767"/>
            <a:ext cx="776178" cy="336522"/>
          </a:xfrm>
          <a:prstGeom prst="rect">
            <a:avLst/>
          </a:prstGeom>
        </p:spPr>
      </p:pic>
      <p:pic>
        <p:nvPicPr>
          <p:cNvPr id="16" name="Graphic 15" descr="Expleo Group Logo Vector Logo - Download Free SVG Icon | Worldvectorlogo">
            <a:extLst>
              <a:ext uri="{FF2B5EF4-FFF2-40B4-BE49-F238E27FC236}">
                <a16:creationId xmlns:a16="http://schemas.microsoft.com/office/drawing/2014/main" id="{97EAECB2-DF22-E678-CDE3-5EA2DE735218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5348653" y="3122369"/>
            <a:ext cx="1033099" cy="239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250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9137210" y="5136710"/>
            <a:ext cx="0" cy="0"/>
          </a:xfrm>
        </p:spPr>
        <p:txBody>
          <a:bodyPr/>
          <a:lstStyle/>
          <a:p>
            <a:pPr defTabSz="280800">
              <a:spcAft>
                <a:spcPts val="450"/>
              </a:spcAft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137210" y="5136710"/>
            <a:ext cx="0" cy="0"/>
          </a:xfrm>
        </p:spPr>
        <p:txBody>
          <a:bodyPr/>
          <a:lstStyle/>
          <a:p>
            <a:pPr defTabSz="280800">
              <a:spcAft>
                <a:spcPts val="450"/>
              </a:spcAft>
              <a:buClrTx/>
            </a:pPr>
            <a:fld id="{A2218858-49EA-4BF8-8EFE-B88A4580565A}" type="slidenum">
              <a:rPr lang="en-US" kern="1200">
                <a:ea typeface="Microsoft JhengHei"/>
              </a:rPr>
              <a:pPr defTabSz="280800">
                <a:spcAft>
                  <a:spcPts val="450"/>
                </a:spcAft>
                <a:buClrTx/>
              </a:pPr>
              <a:t>20</a:t>
            </a:fld>
            <a:endParaRPr lang="en-US" kern="1200" dirty="0">
              <a:ea typeface="Microsoft JhengHei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A4E44F1-7D5E-4F87-918E-B7456E0274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78994" y="1518751"/>
            <a:ext cx="5675504" cy="350865"/>
          </a:xfrm>
        </p:spPr>
        <p:txBody>
          <a:bodyPr/>
          <a:lstStyle/>
          <a:p>
            <a:r>
              <a:rPr lang="en-US" dirty="0"/>
              <a:t>On the use of the C++ Core Guideline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78994" y="1869614"/>
            <a:ext cx="5765006" cy="278838"/>
          </a:xfrm>
        </p:spPr>
        <p:txBody>
          <a:bodyPr/>
          <a:lstStyle/>
          <a:p>
            <a:r>
              <a:rPr lang="en-US" dirty="0"/>
              <a:t>for better software product quality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D2F8F6-D39E-421C-9E1D-A0E9BFFD961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 dirty="0"/>
              <a:t>Bart van Tongere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10F3688-3D64-41CE-9799-8D7464E0D0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software architect at ASM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3D0E2B-4147-4A92-93E9-4BF7D07B2F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en-US" dirty="0"/>
              <a:t>C++ Meetup Eindhoven @ </a:t>
            </a:r>
            <a:r>
              <a:rPr lang="en-US" dirty="0" err="1"/>
              <a:t>Tiobe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3B1B1E-8EDF-4CB0-90F2-B82E438C17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/>
              <a:t>D001634204 / 00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39CA04-15E2-4EA1-BC06-208124904FF1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pPr>
              <a:buClrTx/>
            </a:pPr>
            <a:r>
              <a:rPr lang="en-US" kern="1200" dirty="0">
                <a:solidFill>
                  <a:srgbClr val="FFFFFF"/>
                </a:solidFill>
                <a:ea typeface="Microsoft JhengHei"/>
              </a:rPr>
              <a:t>2024-11-27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8BDC45-E43D-F262-BEFB-A25D4E635772}"/>
              </a:ext>
            </a:extLst>
          </p:cNvPr>
          <p:cNvSpPr txBox="1"/>
          <p:nvPr/>
        </p:nvSpPr>
        <p:spPr>
          <a:xfrm>
            <a:off x="3386334" y="3240275"/>
            <a:ext cx="3822301" cy="1315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280800">
              <a:lnSpc>
                <a:spcPct val="95000"/>
              </a:lnSpc>
              <a:spcAft>
                <a:spcPts val="553"/>
              </a:spcAft>
              <a:buClrTx/>
            </a:pPr>
            <a:r>
              <a:rPr lang="en-US" sz="900" kern="1200" dirty="0">
                <a:solidFill>
                  <a:srgbClr val="FFFFFF"/>
                </a:solidFill>
                <a:ea typeface="Microsoft JhengHei"/>
              </a:rPr>
              <a:t>CREATION DATE: 2024-11-11</a:t>
            </a:r>
          </a:p>
        </p:txBody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0B3C7D-C41B-4889-FDF2-28BF0850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ing better C++ co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70C6F2-F91B-1AF6-69AC-A95B872C8C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s enabled by the improving C++ itself 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5D646F-1D8D-35EA-58BC-7220C6DC8028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dirty="0"/>
              <a:t>C++ is getting better itself, ever getting closer to its design goals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some 45 years ago, starting as ‘C with classes’ – a better C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evolved as a system programming language</a:t>
            </a:r>
          </a:p>
          <a:p>
            <a:pPr marL="469106" lvl="1" indent="-214313"/>
            <a:r>
              <a:rPr lang="en-US" dirty="0"/>
              <a:t>supporting multiple paradigms:</a:t>
            </a:r>
            <a:br>
              <a:rPr lang="en-US" dirty="0"/>
            </a:br>
            <a:r>
              <a:rPr lang="en-US" dirty="0"/>
              <a:t>procedural programming, object-based programming, object-oriented programming, generic programming</a:t>
            </a:r>
          </a:p>
          <a:p>
            <a:pPr marL="469106" lvl="1" indent="-214313"/>
            <a:r>
              <a:rPr lang="en-US" dirty="0"/>
              <a:t>supporting concurrency:</a:t>
            </a:r>
            <a:br>
              <a:rPr lang="en-US" dirty="0"/>
            </a:br>
            <a:r>
              <a:rPr lang="en-US" dirty="0"/>
              <a:t>multi-threading, parallel algorithms, co-routines</a:t>
            </a:r>
          </a:p>
          <a:p>
            <a:pPr marL="469106" lvl="1" indent="-214313"/>
            <a:r>
              <a:rPr lang="en-US" dirty="0"/>
              <a:t>supporting large scale programming:</a:t>
            </a:r>
            <a:br>
              <a:rPr lang="en-US" dirty="0"/>
            </a:br>
            <a:r>
              <a:rPr lang="en-US" dirty="0"/>
              <a:t>namespaces, modul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industrial strength</a:t>
            </a:r>
          </a:p>
          <a:p>
            <a:pPr marL="469106" lvl="1" indent="-214313"/>
            <a:r>
              <a:rPr lang="en-US" dirty="0"/>
              <a:t>ISO-standardized in 1998</a:t>
            </a:r>
            <a:br>
              <a:rPr lang="en-US" dirty="0"/>
            </a:br>
            <a:r>
              <a:rPr lang="en-US" dirty="0"/>
              <a:t>with regular 3-yearly revisions since 2011</a:t>
            </a:r>
          </a:p>
          <a:p>
            <a:pPr marL="469106" lvl="1" indent="-214313"/>
            <a:r>
              <a:rPr lang="en-US" dirty="0"/>
              <a:t>maintaining a high degree of backward compatibility;</a:t>
            </a:r>
            <a:br>
              <a:rPr lang="en-US" dirty="0"/>
            </a:br>
            <a:r>
              <a:rPr lang="en-US" dirty="0"/>
              <a:t>a C++ program written 40 years ago, may still compile today without much or any effort</a:t>
            </a:r>
          </a:p>
          <a:p>
            <a:pPr marL="214313" indent="-214313"/>
            <a:endParaRPr lang="en-US" dirty="0"/>
          </a:p>
          <a:p>
            <a:pPr marL="214313" indent="-214313"/>
            <a:r>
              <a:rPr lang="en-US" dirty="0"/>
              <a:t>C++ is a large and complex language, with some historical quirks.</a:t>
            </a:r>
          </a:p>
          <a:p>
            <a:r>
              <a:rPr lang="en-US" dirty="0"/>
              <a:t>A programmer can get lost in it - and not effectively use it as ‘modern C++’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AEA863-4AE5-72FA-BB55-8B2E212357E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90C55-73A2-49F1-FADE-17E8D57BC52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 dirty="0">
                <a:ea typeface="Microsoft JhengHei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061C2C-3EC7-7889-E22D-5ACD08DEBF5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1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sp>
        <p:nvSpPr>
          <p:cNvPr id="8" name="Scroll: Vertical 7">
            <a:extLst>
              <a:ext uri="{FF2B5EF4-FFF2-40B4-BE49-F238E27FC236}">
                <a16:creationId xmlns:a16="http://schemas.microsoft.com/office/drawing/2014/main" id="{6847AF9C-3BF0-45B6-0F53-C6DA77E41126}"/>
              </a:ext>
            </a:extLst>
          </p:cNvPr>
          <p:cNvSpPr/>
          <p:nvPr/>
        </p:nvSpPr>
        <p:spPr>
          <a:xfrm>
            <a:off x="6084168" y="3864658"/>
            <a:ext cx="2895313" cy="953801"/>
          </a:xfrm>
          <a:prstGeom prst="verticalScroll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80800">
              <a:spcAft>
                <a:spcPts val="450"/>
              </a:spcAft>
              <a:buClrTx/>
            </a:pPr>
            <a:r>
              <a:rPr lang="en-US" sz="1050" kern="1200" dirty="0">
                <a:solidFill>
                  <a:srgbClr val="FFFFFF"/>
                </a:solidFill>
                <a:latin typeface="Arial"/>
                <a:ea typeface="Microsoft JhengHei"/>
                <a:cs typeface="Arial"/>
              </a:rPr>
              <a:t>C++’s type system and semantics are much cleaner than its syntax. Within C++, there is a much smaller and cleaner language struggling to get out. (D&amp;E of C++, p 207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347C685-5F50-EAAF-6BDA-E5FB053130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824" y="1027350"/>
            <a:ext cx="1359153" cy="203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579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0B3C7D-C41B-4889-FDF2-28BF0850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ing better C++ cod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70C6F2-F91B-1AF6-69AC-A95B872C8C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equires understanding C++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5D646F-1D8D-35EA-58BC-7220C6DC802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2516508"/>
          </a:xfrm>
        </p:spPr>
        <p:txBody>
          <a:bodyPr/>
          <a:lstStyle/>
          <a:p>
            <a:r>
              <a:rPr lang="en-US" dirty="0"/>
              <a:t>To write better C++, it is essential to understand the big picture, i.e., its supported programming paradigms and what they aim to achieve. Understand the major features of the C++ programming language. And finally, go into the details.</a:t>
            </a:r>
          </a:p>
          <a:p>
            <a:endParaRPr lang="en-US" b="0" i="1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There is thus a curious upside-downness to our normal human way of perceiving the world:</a:t>
            </a:r>
            <a:b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</a:b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we are built to perceive “big stuff” rather than “small stuff”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(Douglas R. Hofstadter)</a:t>
            </a:r>
            <a:endParaRPr lang="en-US" dirty="0"/>
          </a:p>
          <a:p>
            <a:endParaRPr lang="en-US" dirty="0"/>
          </a:p>
          <a:p>
            <a:r>
              <a:rPr lang="en-US" dirty="0"/>
              <a:t>Understanding does not come from studying a detailed set of rules.</a:t>
            </a:r>
          </a:p>
          <a:p>
            <a:r>
              <a:rPr lang="en-US" dirty="0"/>
              <a:t>Understanding comes from studying the concepts and use them in practice.</a:t>
            </a:r>
          </a:p>
          <a:p>
            <a:endParaRPr lang="en-US" dirty="0"/>
          </a:p>
          <a:p>
            <a:r>
              <a:rPr lang="en-US" dirty="0"/>
              <a:t>Learn the concepts and how to use them in</a:t>
            </a:r>
            <a:br>
              <a:rPr lang="en-US" dirty="0"/>
            </a:br>
            <a:r>
              <a:rPr lang="en-US" dirty="0"/>
              <a:t>modern C++ by, e.g., reading a good book: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AEA863-4AE5-72FA-BB55-8B2E212357E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90C55-73A2-49F1-FADE-17E8D57BC52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 dirty="0">
                <a:ea typeface="Microsoft JhengHei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061C2C-3EC7-7889-E22D-5ACD08DEBF5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2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B99350-BF05-8C05-D220-1D8BB4F4EB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5051" y="2927865"/>
            <a:ext cx="1459661" cy="18109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ACD2C0-26B1-4116-D15A-A14DD6371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3000" y="2927865"/>
            <a:ext cx="1459661" cy="18200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1783C8E-D306-3EFF-6475-D990D9449C38}"/>
              </a:ext>
            </a:extLst>
          </p:cNvPr>
          <p:cNvSpPr txBox="1"/>
          <p:nvPr/>
        </p:nvSpPr>
        <p:spPr>
          <a:xfrm>
            <a:off x="3870951" y="4776406"/>
            <a:ext cx="1840247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280800">
              <a:lnSpc>
                <a:spcPct val="95000"/>
              </a:lnSpc>
              <a:spcAft>
                <a:spcPts val="553"/>
              </a:spcAft>
              <a:buClrTx/>
            </a:pPr>
            <a:r>
              <a:rPr lang="en-US" sz="1200" kern="1200" dirty="0">
                <a:ea typeface="Microsoft JhengHei"/>
              </a:rPr>
              <a:t>for beginning programm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BFA611-8806-80E5-8D75-828767000A9A}"/>
              </a:ext>
            </a:extLst>
          </p:cNvPr>
          <p:cNvSpPr txBox="1"/>
          <p:nvPr/>
        </p:nvSpPr>
        <p:spPr>
          <a:xfrm>
            <a:off x="6202939" y="4765660"/>
            <a:ext cx="2011769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defTabSz="280800">
              <a:lnSpc>
                <a:spcPct val="95000"/>
              </a:lnSpc>
              <a:spcAft>
                <a:spcPts val="553"/>
              </a:spcAft>
              <a:buClrTx/>
            </a:pPr>
            <a:r>
              <a:rPr lang="en-US" sz="1200" kern="1200" dirty="0">
                <a:ea typeface="Microsoft JhengHei"/>
              </a:rPr>
              <a:t>for experienced programmers</a:t>
            </a:r>
          </a:p>
        </p:txBody>
      </p:sp>
    </p:spTree>
    <p:extLst>
      <p:ext uri="{BB962C8B-B14F-4D97-AF65-F5344CB8AC3E}">
        <p14:creationId xmlns:p14="http://schemas.microsoft.com/office/powerpoint/2010/main" val="2791552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68888242-FCC7-4F60-84D4-FD7B20707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ing better C++ code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1ED1E9E1-C231-A577-E8C1-BA29CF80B55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o yield a better </a:t>
            </a:r>
            <a:r>
              <a:rPr lang="en-US" b="1" dirty="0"/>
              <a:t>software product quality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5DEC3FB-77F9-B581-22B4-0C7F1C557B5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965158"/>
            <a:ext cx="8143397" cy="1095940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b="1" dirty="0"/>
              <a:t>ISO 25010:2023 </a:t>
            </a:r>
            <a:r>
              <a:rPr lang="en-US" dirty="0"/>
              <a:t>standard specifies a well-defined </a:t>
            </a:r>
            <a:r>
              <a:rPr lang="en-US" b="1" dirty="0"/>
              <a:t>software product quality </a:t>
            </a:r>
            <a:r>
              <a:rPr lang="en-US" dirty="0"/>
              <a:t>model.</a:t>
            </a:r>
          </a:p>
          <a:p>
            <a:r>
              <a:rPr lang="en-US" dirty="0"/>
              <a:t>It comprises 9 quality characteristics with 40 subcharacteristics, all concisely described at </a:t>
            </a:r>
            <a:r>
              <a:rPr lang="en-US" dirty="0">
                <a:hlinkClick r:id="rId2"/>
              </a:rPr>
              <a:t>ISO 25010 (iso25000.com)</a:t>
            </a:r>
            <a:r>
              <a:rPr lang="en-US" dirty="0"/>
              <a:t>.</a:t>
            </a:r>
          </a:p>
          <a:p>
            <a:r>
              <a:rPr lang="en-US" dirty="0"/>
              <a:t>Several of these quality characteristics will be relevant for your software product at hand.</a:t>
            </a:r>
            <a:br>
              <a:rPr lang="en-US" dirty="0"/>
            </a:br>
            <a:r>
              <a:rPr lang="en-US" dirty="0"/>
              <a:t>That quality should be reflected by the product’s requirements and design choices.</a:t>
            </a:r>
          </a:p>
          <a:p>
            <a:r>
              <a:rPr lang="en-US" dirty="0"/>
              <a:t>Poorly written C++ code may affect any of the quality characteristics of the product. How to test the product’s quality?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B64EF1-46CA-BC4D-2E89-AF9F6A4A637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spcAft>
                <a:spcPts val="450"/>
              </a:spcAft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spcAft>
                  <a:spcPts val="450"/>
                </a:spcAft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F34B85-B5F8-9AA1-E8CA-FE9E8F0BED6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spcAft>
                <a:spcPts val="450"/>
              </a:spcAft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8EF9B8-B25D-F062-5681-ABA68DBEA6A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spcAft>
                <a:spcPts val="450"/>
              </a:spcAft>
              <a:buClrTx/>
            </a:pPr>
            <a:r>
              <a:rPr lang="en-US" kern="1200" dirty="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spcAft>
                  <a:spcPts val="450"/>
                </a:spcAft>
                <a:buClrTx/>
              </a:pPr>
              <a:t>23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D899A2-2C69-C338-2BA7-2ECC417A12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432" y="2139241"/>
            <a:ext cx="8143397" cy="267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2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8117-D389-E424-4EAE-3725C24C8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Product Qual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F25B79-E58B-3C85-59CF-B0B2D67D9D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to test it? 1. Perform static code analysis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C6EA7C-5A81-5E32-71F3-17DEEF6E381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1004341"/>
          </a:xfrm>
        </p:spPr>
        <p:txBody>
          <a:bodyPr/>
          <a:lstStyle/>
          <a:p>
            <a:r>
              <a:rPr lang="en-US" dirty="0"/>
              <a:t>We can do some early checks at development-time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Static code analysis to detect </a:t>
            </a:r>
            <a:r>
              <a:rPr lang="en-US" i="1" dirty="0"/>
              <a:t>some</a:t>
            </a:r>
            <a:r>
              <a:rPr lang="en-US" dirty="0"/>
              <a:t> constructions that may degrade reliability, security, maintainability, or flexibility.</a:t>
            </a:r>
          </a:p>
          <a:p>
            <a:r>
              <a:rPr lang="en-US" dirty="0"/>
              <a:t>This includes partly automated checking on compliance to a </a:t>
            </a:r>
            <a:r>
              <a:rPr lang="en-US" b="1" dirty="0"/>
              <a:t>coding standard</a:t>
            </a:r>
            <a:r>
              <a:rPr lang="en-US" dirty="0"/>
              <a:t>.</a:t>
            </a:r>
          </a:p>
          <a:p>
            <a:r>
              <a:rPr lang="en-US" dirty="0"/>
              <a:t>If passed, the code by itself has some basic sanity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0BA0E-23BC-DA2E-1E93-A096B5C792A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CE3209-B14C-E7FA-4FF6-A6943EEEE32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9E548-A5FD-A0C8-3E3F-F39423EAAC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4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E2B32D-189A-9A01-3BDF-20AD7CD4D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32" y="2139241"/>
            <a:ext cx="8143397" cy="2671322"/>
          </a:xfrm>
          <a:prstGeom prst="rect">
            <a:avLst/>
          </a:prstGeom>
        </p:spPr>
      </p:pic>
      <p:sp>
        <p:nvSpPr>
          <p:cNvPr id="17" name="Right Brace 16">
            <a:extLst>
              <a:ext uri="{FF2B5EF4-FFF2-40B4-BE49-F238E27FC236}">
                <a16:creationId xmlns:a16="http://schemas.microsoft.com/office/drawing/2014/main" id="{291CAC5D-C4C3-72D8-FBE3-7F97DD010A4E}"/>
              </a:ext>
            </a:extLst>
          </p:cNvPr>
          <p:cNvSpPr/>
          <p:nvPr/>
        </p:nvSpPr>
        <p:spPr>
          <a:xfrm rot="16200000">
            <a:off x="5421397" y="-5835"/>
            <a:ext cx="569465" cy="3564395"/>
          </a:xfrm>
          <a:prstGeom prst="rightBrace">
            <a:avLst>
              <a:gd name="adj1" fmla="val 23553"/>
              <a:gd name="adj2" fmla="val 68227"/>
            </a:avLst>
          </a:prstGeom>
          <a:ln>
            <a:solidFill>
              <a:schemeClr val="accent4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280800">
              <a:spcAft>
                <a:spcPts val="450"/>
              </a:spcAft>
              <a:buClrTx/>
            </a:pPr>
            <a:endParaRPr lang="en-US" sz="1200" kern="1200">
              <a:solidFill>
                <a:srgbClr val="000000"/>
              </a:solidFill>
              <a:latin typeface="Arial"/>
              <a:ea typeface="Microsoft JhengHe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96064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8117-D389-E424-4EAE-3725C24C8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Product Qual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F25B79-E58B-3C85-59CF-B0B2D67D9D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to test it? 2. Run unit tests and review the code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C6EA7C-5A81-5E32-71F3-17DEEF6E381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555768" cy="950335"/>
          </a:xfrm>
        </p:spPr>
        <p:txBody>
          <a:bodyPr/>
          <a:lstStyle/>
          <a:p>
            <a:r>
              <a:rPr lang="en-US" dirty="0"/>
              <a:t>We can do more early testing: unit-testing and reviewing the code.</a:t>
            </a:r>
          </a:p>
          <a:p>
            <a:r>
              <a:rPr lang="en-US" dirty="0"/>
              <a:t>A review is a very powerful kind of test. The reviewers can think of </a:t>
            </a:r>
            <a:r>
              <a:rPr lang="en-US" i="1" dirty="0"/>
              <a:t>any</a:t>
            </a:r>
            <a:r>
              <a:rPr lang="en-US" dirty="0"/>
              <a:t> scenario and how the software would behave.</a:t>
            </a:r>
            <a:br>
              <a:rPr lang="en-US" dirty="0"/>
            </a:br>
            <a:r>
              <a:rPr lang="en-US" dirty="0"/>
              <a:t>Reviews can cover </a:t>
            </a:r>
            <a:r>
              <a:rPr lang="en-US" i="1" dirty="0"/>
              <a:t>all</a:t>
            </a:r>
            <a:r>
              <a:rPr lang="en-US" dirty="0"/>
              <a:t> relevant quality characteristics. If passed, the code is thought to adhere to its design and requirements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0BA0E-23BC-DA2E-1E93-A096B5C792A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CE3209-B14C-E7FA-4FF6-A6943EEEE32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9E548-A5FD-A0C8-3E3F-F39423EAAC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5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E2B32D-189A-9A01-3BDF-20AD7CD4D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32" y="2139241"/>
            <a:ext cx="8143397" cy="2671322"/>
          </a:xfrm>
          <a:prstGeom prst="rect">
            <a:avLst/>
          </a:prstGeom>
        </p:spPr>
      </p:pic>
      <p:sp>
        <p:nvSpPr>
          <p:cNvPr id="9" name="Right Brace 8">
            <a:extLst>
              <a:ext uri="{FF2B5EF4-FFF2-40B4-BE49-F238E27FC236}">
                <a16:creationId xmlns:a16="http://schemas.microsoft.com/office/drawing/2014/main" id="{39168364-A8C5-4D39-778D-563AC2E6853B}"/>
              </a:ext>
            </a:extLst>
          </p:cNvPr>
          <p:cNvSpPr/>
          <p:nvPr/>
        </p:nvSpPr>
        <p:spPr>
          <a:xfrm rot="16200000">
            <a:off x="4161994" y="-2209912"/>
            <a:ext cx="407447" cy="8134568"/>
          </a:xfrm>
          <a:prstGeom prst="rightBrace">
            <a:avLst>
              <a:gd name="adj1" fmla="val 23553"/>
              <a:gd name="adj2" fmla="val 17141"/>
            </a:avLst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280800">
              <a:spcAft>
                <a:spcPts val="450"/>
              </a:spcAft>
              <a:buClrTx/>
            </a:pPr>
            <a:endParaRPr lang="en-US" sz="1200" kern="1200">
              <a:solidFill>
                <a:srgbClr val="000000"/>
              </a:solidFill>
              <a:latin typeface="Arial"/>
              <a:ea typeface="Microsoft JhengHe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2532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8117-D389-E424-4EAE-3725C24C8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Product Qual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F25B79-E58B-3C85-59CF-B0B2D67D9D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to test it? 3. Run module and system tests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C6EA7C-5A81-5E32-71F3-17DEEF6E381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dirty="0"/>
              <a:t>Module and system-level tests may cover most quality aspects </a:t>
            </a:r>
            <a:r>
              <a:rPr lang="en-US" i="1" dirty="0"/>
              <a:t>except</a:t>
            </a:r>
            <a:r>
              <a:rPr lang="en-US" dirty="0"/>
              <a:t> maintainability and flexibility – as </a:t>
            </a:r>
            <a:br>
              <a:rPr lang="en-US" dirty="0"/>
            </a:br>
            <a:r>
              <a:rPr lang="en-US" dirty="0"/>
              <a:t>these are not observable by using the product. Try to check/review those earlier.</a:t>
            </a:r>
          </a:p>
          <a:p>
            <a:r>
              <a:rPr lang="en-US" dirty="0"/>
              <a:t>While module and system-level are performed when the implementation is done,</a:t>
            </a:r>
            <a:br>
              <a:rPr lang="en-US" dirty="0"/>
            </a:br>
            <a:r>
              <a:rPr lang="en-US" dirty="0"/>
              <a:t>any issues found may be relatively expensive to fix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0BA0E-23BC-DA2E-1E93-A096B5C792A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CE3209-B14C-E7FA-4FF6-A6943EEEE32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9E548-A5FD-A0C8-3E3F-F39423EAAC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6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E2B32D-189A-9A01-3BDF-20AD7CD4D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32" y="2139241"/>
            <a:ext cx="8143397" cy="2671322"/>
          </a:xfrm>
          <a:prstGeom prst="rect">
            <a:avLst/>
          </a:prstGeom>
        </p:spPr>
      </p:pic>
      <p:sp>
        <p:nvSpPr>
          <p:cNvPr id="9" name="Right Brace 8">
            <a:extLst>
              <a:ext uri="{FF2B5EF4-FFF2-40B4-BE49-F238E27FC236}">
                <a16:creationId xmlns:a16="http://schemas.microsoft.com/office/drawing/2014/main" id="{CDE80269-DC26-4CA7-DFD3-F16B1385050F}"/>
              </a:ext>
            </a:extLst>
          </p:cNvPr>
          <p:cNvSpPr/>
          <p:nvPr/>
        </p:nvSpPr>
        <p:spPr>
          <a:xfrm rot="16200000">
            <a:off x="6204485" y="777252"/>
            <a:ext cx="839496" cy="1728191"/>
          </a:xfrm>
          <a:prstGeom prst="rightBrace">
            <a:avLst>
              <a:gd name="adj1" fmla="val 23553"/>
              <a:gd name="adj2" fmla="val 25078"/>
            </a:avLst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280800">
              <a:spcAft>
                <a:spcPts val="450"/>
              </a:spcAft>
              <a:buClrTx/>
            </a:pPr>
            <a:endParaRPr lang="en-US" sz="1200" kern="1200">
              <a:solidFill>
                <a:srgbClr val="000000"/>
              </a:solidFill>
              <a:latin typeface="Arial"/>
              <a:ea typeface="Microsoft JhengHe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04378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9466D-B0CC-78D4-C7BD-28A9388B6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a coding standar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80520-70E0-E309-25DE-BDCFE37994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y does it (not) matter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A4E06A-B3BC-DF3E-9279-FE704A66F58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3791110"/>
          </a:xfrm>
        </p:spPr>
        <p:txBody>
          <a:bodyPr/>
          <a:lstStyle/>
          <a:p>
            <a:r>
              <a:rPr lang="en-US" dirty="0"/>
              <a:t>Coding standard aims ar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o prevent coding erro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o prevent coding using obsolete or deprecated language featur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o prevent coding using undefined or implementation defined language features</a:t>
            </a:r>
            <a:endParaRPr lang="en-US" b="1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o achieve a certain consistency in style</a:t>
            </a:r>
          </a:p>
          <a:p>
            <a:endParaRPr lang="en-US" dirty="0"/>
          </a:p>
          <a:p>
            <a:r>
              <a:rPr lang="en-US" dirty="0"/>
              <a:t>However, as we have seen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even full compliance to a coding standard does </a:t>
            </a:r>
            <a:r>
              <a:rPr lang="en-US" i="1" dirty="0"/>
              <a:t>not</a:t>
            </a:r>
            <a:r>
              <a:rPr lang="en-US" dirty="0"/>
              <a:t> ensure software product quality!</a:t>
            </a:r>
          </a:p>
          <a:p>
            <a:pPr marL="469106" lvl="1" indent="-214313"/>
            <a:r>
              <a:rPr lang="en-US" dirty="0"/>
              <a:t>not any product quality characteristic can be fully addressed by a coding standard</a:t>
            </a:r>
          </a:p>
          <a:p>
            <a:pPr marL="214313" indent="-214313"/>
            <a:r>
              <a:rPr lang="en-US" dirty="0"/>
              <a:t>So, don’t overestimate the importance of a coding standard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It is very useful to allow focusing attention on the hard parts of developing a high quality software product.</a:t>
            </a:r>
          </a:p>
          <a:p>
            <a:pPr marL="214313" indent="-214313"/>
            <a:endParaRPr lang="en-US" dirty="0"/>
          </a:p>
          <a:p>
            <a:pPr marL="214313" indent="-214313"/>
            <a:r>
              <a:rPr lang="en-US" dirty="0"/>
              <a:t>Be aware that a coding standard should not be overly restrictive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Do not easily forbid common C++ programming idioms, hampering programmers.</a:t>
            </a:r>
          </a:p>
          <a:p>
            <a:pPr marL="214313" indent="-214313"/>
            <a:r>
              <a:rPr lang="en-US" dirty="0"/>
              <a:t>Don’t make a new guideline for each problem that ever occurred: this will never finish and result in too many guideline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Better invest in learning and training to improve C++ programming craftsmanship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D38E53-AB6C-368E-2321-44D1A975FA4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A10353-B3D4-A00F-155E-2931C1E2CBA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AD72CF-08DD-4748-F687-2E5B12DA958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7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15196480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5B6EB-4121-5820-903A-3EE743BDD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a coding standar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F9F609-4504-D0A3-08A3-85434AB122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ich one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1AA0DF-4F89-A222-B78B-D0AD509D2F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dirty="0"/>
              <a:t>As we discussed before, C++ is a large and complex language.</a:t>
            </a:r>
          </a:p>
          <a:p>
            <a:r>
              <a:rPr lang="en-US" dirty="0"/>
              <a:t>It is offering new and improved core language and library features in each standard revision.</a:t>
            </a:r>
          </a:p>
          <a:p>
            <a:r>
              <a:rPr lang="en-US" dirty="0"/>
              <a:t>For proper use of this evolving language, make use of authoritative sources of know-how.</a:t>
            </a:r>
          </a:p>
          <a:p>
            <a:endParaRPr lang="en-US" dirty="0"/>
          </a:p>
          <a:p>
            <a:r>
              <a:rPr lang="en-US" dirty="0"/>
              <a:t>At ASML, our C++ coding standard is based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Philips C++ coding standard now published by </a:t>
            </a:r>
            <a:r>
              <a:rPr lang="en-US" dirty="0">
                <a:hlinkClick r:id="rId2"/>
              </a:rPr>
              <a:t>TIOBE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originating from Philips Healthcare (Tongeren, </a:t>
            </a:r>
            <a:r>
              <a:rPr lang="en-US" dirty="0" err="1"/>
              <a:t>Schaick</a:t>
            </a:r>
            <a:r>
              <a:rPr lang="en-US" dirty="0"/>
              <a:t>), which was based on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book “</a:t>
            </a:r>
            <a:r>
              <a:rPr lang="en-US" dirty="0">
                <a:hlinkClick r:id="rId3"/>
              </a:rPr>
              <a:t>Industrial Strength C++</a:t>
            </a:r>
            <a:r>
              <a:rPr lang="en-US" dirty="0"/>
              <a:t>” (</a:t>
            </a:r>
            <a:r>
              <a:rPr lang="en-US" dirty="0" err="1"/>
              <a:t>Henricson</a:t>
            </a:r>
            <a:r>
              <a:rPr lang="en-US" dirty="0"/>
              <a:t>, Nyquist; 1997), which was a successor of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public domain </a:t>
            </a:r>
            <a:r>
              <a:rPr lang="en-US" dirty="0" err="1">
                <a:hlinkClick r:id="rId4"/>
              </a:rPr>
              <a:t>Ellemtel</a:t>
            </a:r>
            <a:r>
              <a:rPr lang="en-US" dirty="0"/>
              <a:t> C++ coding standard (</a:t>
            </a:r>
            <a:r>
              <a:rPr lang="en-US" dirty="0" err="1"/>
              <a:t>Henricson</a:t>
            </a:r>
            <a:r>
              <a:rPr lang="en-US" dirty="0"/>
              <a:t>, Nyquist; 1992).</a:t>
            </a:r>
          </a:p>
          <a:p>
            <a:endParaRPr lang="en-US" dirty="0"/>
          </a:p>
          <a:p>
            <a:r>
              <a:rPr lang="en-US" dirty="0"/>
              <a:t>Currently, we are in the process of gradually adopting the </a:t>
            </a:r>
            <a:r>
              <a:rPr lang="en-US" dirty="0">
                <a:hlinkClick r:id="rId5"/>
              </a:rPr>
              <a:t>C++ Core Guidelines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a coding standard under an MIT-style license published by the ISO C++ foundation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C++ Core Guidelines were introduced at the </a:t>
            </a:r>
            <a:r>
              <a:rPr lang="en-US" dirty="0" err="1"/>
              <a:t>CppCon</a:t>
            </a:r>
            <a:r>
              <a:rPr lang="en-US" dirty="0"/>
              <a:t> 2015: see </a:t>
            </a:r>
            <a:r>
              <a:rPr lang="en-US" dirty="0">
                <a:hlinkClick r:id="rId6"/>
              </a:rPr>
              <a:t>slides</a:t>
            </a:r>
            <a:r>
              <a:rPr lang="en-US" dirty="0"/>
              <a:t>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Editors are Stroustrup and Sutter. There are now over 300 contributors.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D6956-4B00-35F2-44DF-7AE621903B0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488F21-496D-780F-4FF3-855B75C97A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 dirty="0">
                <a:ea typeface="Microsoft JhengHei"/>
              </a:rPr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513A46-E2F0-0FEA-C7BA-DB7DED7987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8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D0FBCE-CCF0-D8C6-E189-886168B0C5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3837" y="1815666"/>
            <a:ext cx="1233054" cy="17066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1B89E9-6226-511C-3DC9-96F77D4049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2150" y="3362485"/>
            <a:ext cx="1357313" cy="15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756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65BCB-0418-1DD2-3B68-56B11754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++ Core Guid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E30432-46D0-3621-B834-E863310CA3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3E4FAC-082A-A951-290C-EF804D88D8A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8143397" cy="3579106"/>
          </a:xfrm>
        </p:spPr>
        <p:txBody>
          <a:bodyPr/>
          <a:lstStyle/>
          <a:p>
            <a:r>
              <a:rPr lang="en-US" dirty="0"/>
              <a:t>The modest aim is to “help C++ programmers to write simpler, more efficient, more maintainable code”.</a:t>
            </a:r>
          </a:p>
          <a:p>
            <a:r>
              <a:rPr lang="en-US" dirty="0"/>
              <a:t>The focus is on ‘modern C++’, currently mentioning C++17/20.</a:t>
            </a:r>
          </a:p>
          <a:p>
            <a:endParaRPr lang="en-US" dirty="0"/>
          </a:p>
          <a:p>
            <a:r>
              <a:rPr lang="en-US" dirty="0"/>
              <a:t>Although named “core guidelines”, it is a sizeable set of guidelines – hundreds of pages if in print format.</a:t>
            </a:r>
          </a:p>
          <a:p>
            <a:endParaRPr lang="en-US" dirty="0"/>
          </a:p>
          <a:p>
            <a:r>
              <a:rPr lang="en-US" dirty="0"/>
              <a:t>The guidelines do refer to sources lik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several “Effective C++” books by Scott Meyers,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“101 C++ Coding Standards” by Sutter and </a:t>
            </a:r>
            <a:r>
              <a:rPr lang="en-US" dirty="0" err="1"/>
              <a:t>Alexandrescu</a:t>
            </a:r>
            <a:r>
              <a:rPr lang="en-US" dirty="0"/>
              <a:t>, an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 err="1"/>
              <a:t>Stroustrup’s</a:t>
            </a:r>
            <a:r>
              <a:rPr lang="en-US" dirty="0"/>
              <a:t> “A Tour of C++”, and others.</a:t>
            </a:r>
          </a:p>
          <a:p>
            <a:r>
              <a:rPr lang="en-US" dirty="0"/>
              <a:t>The advices summarized at the end of each chapter of </a:t>
            </a:r>
            <a:r>
              <a:rPr lang="en-US" dirty="0" err="1"/>
              <a:t>Stroustrup’s</a:t>
            </a:r>
            <a:r>
              <a:rPr lang="en-US" dirty="0"/>
              <a:t> books started the C++ Core Guidelin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64087-3795-1A7F-BACE-5A1BA86E5BE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5808BA-E8FA-0BAD-3148-F87752B74E0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C2AD6B-A089-607A-14E1-BD4F6D16EBC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29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3970845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7F65BE-4A71-E2A8-70BF-1EDC02B46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genda </a:t>
            </a:r>
            <a:endParaRPr lang="en-NL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5B2F52E-5700-B4E5-C634-195832E3DB2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57172" y="1734671"/>
            <a:ext cx="8228700" cy="2796988"/>
          </a:xfrm>
        </p:spPr>
        <p:txBody>
          <a:bodyPr/>
          <a:lstStyle/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Work Sans"/>
              </a:rPr>
              <a:t>Talk 1 – Jan Wilmans: C++ Default Guidelines</a:t>
            </a:r>
            <a:endParaRPr lang="en-US" dirty="0"/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Talk 2 – Bart van Tongeren: On the use of the C++ Core Guidelines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Short break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Talk 3 – Paul Jansen: Implementing C++ Coding Standards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Panel discussion and questions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Drinks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2FC3E-C43D-B185-B46A-16486F58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istor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053649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F4D9E0-BC40-F80B-430B-02723E30A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++ Core Guid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EA9BF7-920F-9B11-B102-D811AA6AEB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/>
              <a:t>example of </a:t>
            </a:r>
            <a:r>
              <a:rPr lang="en-US" dirty="0"/>
              <a:t>a simple guideli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E2DA62-7D47-552E-9BC1-EFB4E0FD39B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3F9484-6FAC-259A-B7A2-C0C6F300C80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4112B4-494F-08DB-95E2-2ADA4252B8F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30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5CC239-2D69-01F4-4DCB-BAB12026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4413" y="898254"/>
            <a:ext cx="5215175" cy="4095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360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65BCB-0418-1DD2-3B68-56B11754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++ Core Guid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E30432-46D0-3621-B834-E863310CA3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ructure and alignment with standard C++ revis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3E4FAC-082A-A951-290C-EF804D88D8A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800" y="1027350"/>
            <a:ext cx="5200303" cy="3704641"/>
          </a:xfrm>
        </p:spPr>
        <p:txBody>
          <a:bodyPr/>
          <a:lstStyle/>
          <a:p>
            <a:r>
              <a:rPr lang="en-US" dirty="0"/>
              <a:t>The guidelines are organized in sections. The sections are not orthogonal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E.g. the Functions section is not the only section with guidelines on functions. The interface section has something to say on the number of function arguments, and the Classes section has a guideline on lambda functions vs function objects.</a:t>
            </a:r>
          </a:p>
          <a:p>
            <a:r>
              <a:rPr lang="en-US" dirty="0"/>
              <a:t>The enforcement of a guideline may just be a hint to the reviewer rather than a precise specification for an automatic check by a tool.</a:t>
            </a:r>
          </a:p>
          <a:p>
            <a:r>
              <a:rPr lang="en-US" dirty="0"/>
              <a:t>The guidelines do not attempt to subset the language. Instead, they are designed according to the so-called “subset of superset” principle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Guideline Support Library (GSL) provides some extensions that can be used to avoid the use of error-prone C++ feature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Parts of the GSL already have been standardized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64087-3795-1A7F-BACE-5A1BA86E5BE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5808BA-E8FA-0BAD-3148-F87752B74E0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C2AD6B-A089-607A-14E1-BD4F6D16EBC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31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3A8AF5-045D-7F96-C296-6E2220824EA4}"/>
              </a:ext>
            </a:extLst>
          </p:cNvPr>
          <p:cNvSpPr txBox="1"/>
          <p:nvPr/>
        </p:nvSpPr>
        <p:spPr>
          <a:xfrm>
            <a:off x="5760132" y="1027350"/>
            <a:ext cx="2786981" cy="391645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2"/>
              </a:rPr>
              <a:t>In: Introduction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3"/>
              </a:rPr>
              <a:t>P: Philosophy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4"/>
              </a:rPr>
              <a:t>I: Interface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5"/>
              </a:rPr>
              <a:t>F: Function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6"/>
              </a:rPr>
              <a:t>C: Classes and class hierarchie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7"/>
              </a:rPr>
              <a:t>Enum: Enumeration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8"/>
              </a:rPr>
              <a:t>R: Resource management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9"/>
              </a:rPr>
              <a:t>ES: Expressions and statement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0"/>
              </a:rPr>
              <a:t>Per: Performance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1"/>
              </a:rPr>
              <a:t>CP: Concurrency and parallelism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2"/>
              </a:rPr>
              <a:t>E: Error handling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3"/>
              </a:rPr>
              <a:t>Con: Constants and immutability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4"/>
              </a:rPr>
              <a:t>T: Templates and generic programming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5"/>
              </a:rPr>
              <a:t>CPL: C-style programming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6"/>
              </a:rPr>
              <a:t>SF: Source files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  <a:p>
            <a:pPr marL="214313" indent="-214313" defTabSz="280800">
              <a:spcAft>
                <a:spcPts val="45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rgbClr val="268BD2"/>
                </a:solidFill>
                <a:latin typeface="PT Sans" panose="020B0503020203020204" pitchFamily="34" charset="0"/>
                <a:ea typeface="Microsoft JhengHei"/>
                <a:hlinkClick r:id="rId17"/>
              </a:rPr>
              <a:t>SL: The Standard Library</a:t>
            </a:r>
            <a:endParaRPr lang="en-US" sz="1200" kern="1200" dirty="0">
              <a:solidFill>
                <a:srgbClr val="515151"/>
              </a:solidFill>
              <a:latin typeface="PT Sans" panose="020B0503020203020204" pitchFamily="34" charset="0"/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13081238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EEBEA-2892-8675-FF22-7B7297AB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++ Core Guid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AAB007-35C1-2EE2-9CB5-3ABCD3A6A0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files and company-specific extens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81BB7-665D-E34E-24C1-DA4091F123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9603" y="1027350"/>
            <a:ext cx="8143397" cy="3510122"/>
          </a:xfrm>
        </p:spPr>
        <p:txBody>
          <a:bodyPr/>
          <a:lstStyle/>
          <a:p>
            <a:r>
              <a:rPr lang="en-US" dirty="0"/>
              <a:t>A </a:t>
            </a:r>
            <a:r>
              <a:rPr lang="en-US" b="1" dirty="0"/>
              <a:t>profile</a:t>
            </a:r>
            <a:r>
              <a:rPr lang="en-US" dirty="0"/>
              <a:t> names a group of related rules. A rule can be part of several profiles, or none.</a:t>
            </a:r>
          </a:p>
          <a:p>
            <a:r>
              <a:rPr lang="en-US" dirty="0"/>
              <a:t>Current profiles are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ype: No type violations (reinterpreting a T as a U through casts, unions, or </a:t>
            </a:r>
            <a:r>
              <a:rPr lang="en-US" dirty="0" err="1"/>
              <a:t>varargs</a:t>
            </a:r>
            <a:r>
              <a:rPr lang="en-US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bounds: No bounds violations (accessing beyond the range of an array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lifetime: No leaks (failing to delete or multiple delete) and no access to invalid objects (dereferencing </a:t>
            </a:r>
            <a:r>
              <a:rPr lang="en-US" dirty="0" err="1"/>
              <a:t>nullptr</a:t>
            </a:r>
            <a:r>
              <a:rPr lang="en-US" dirty="0"/>
              <a:t>, using a dangling reference).</a:t>
            </a:r>
          </a:p>
          <a:p>
            <a:r>
              <a:rPr lang="en-US" dirty="0"/>
              <a:t>If a rule is labeled with a profile, that helps the reader to find related rules.</a:t>
            </a:r>
          </a:p>
          <a:p>
            <a:endParaRPr lang="en-US" dirty="0"/>
          </a:p>
          <a:p>
            <a:r>
              <a:rPr lang="en-US" dirty="0"/>
              <a:t>The C++ </a:t>
            </a:r>
            <a:r>
              <a:rPr lang="en-US" i="1" dirty="0"/>
              <a:t>Core</a:t>
            </a:r>
            <a:r>
              <a:rPr lang="en-US" dirty="0"/>
              <a:t> Guidelines can be </a:t>
            </a:r>
            <a:r>
              <a:rPr lang="en-US" i="1" dirty="0"/>
              <a:t>extended</a:t>
            </a:r>
            <a:r>
              <a:rPr lang="en-US" dirty="0"/>
              <a:t> by large organizations, large projects, or for specific application area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e.g. guidelines on the use of specific libraries for memory management or error handling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ry to avoid to (locally) redefine the </a:t>
            </a:r>
            <a:r>
              <a:rPr lang="en-US" i="1" dirty="0"/>
              <a:t>core</a:t>
            </a:r>
            <a:r>
              <a:rPr lang="en-US" dirty="0"/>
              <a:t> guidelines; only do that by submitting a defect report.</a:t>
            </a:r>
          </a:p>
          <a:p>
            <a:pPr marL="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9B276B-36DF-A648-48E4-A31B7FF8FB0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1AA0C0-7E8D-CD67-BC40-A4D14FB06EC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245D9E-E9CE-1B10-C64D-356DC00D213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32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37050325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03685-F158-7836-74EB-AC4510E51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++ Core Guid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317E0B-F091-772A-D3DC-B0FC4EBA76E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eeping u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AB3BAB-6D68-E8A6-ABAC-48F99B462133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dirty="0"/>
              <a:t>The C++ Core Guidelines are a continuous work in progress, keeping up with the C++ revisions and fixing issues.</a:t>
            </a:r>
          </a:p>
          <a:p>
            <a:r>
              <a:rPr lang="en-US" dirty="0"/>
              <a:t>You can subscribe to a mailing list to be notified on changes.</a:t>
            </a:r>
          </a:p>
          <a:p>
            <a:endParaRPr lang="en-US" dirty="0"/>
          </a:p>
          <a:p>
            <a:r>
              <a:rPr lang="en-US" dirty="0"/>
              <a:t>The guidelines are many, but also still incomplete - as if it is a version 0.8. Problems are acknowledged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he sets of rules have not been completely checked for completeness, consistency, or enforceability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Triple question marks (???) mark known missing inform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/>
              <a:t>Update reference sections; many pre-C++11 sources are too old.</a:t>
            </a:r>
          </a:p>
          <a:p>
            <a:endParaRPr lang="en-US" dirty="0"/>
          </a:p>
          <a:p>
            <a:r>
              <a:rPr lang="en-US" dirty="0"/>
              <a:t>The guidelines do not yet cover C++20, while C++23 is already out.</a:t>
            </a:r>
            <a:br>
              <a:rPr lang="en-US" dirty="0"/>
            </a:br>
            <a:r>
              <a:rPr lang="en-US" dirty="0"/>
              <a:t>Not a huge problem, as most companies are not yet using C++20/23 anyways.</a:t>
            </a:r>
          </a:p>
          <a:p>
            <a:r>
              <a:rPr lang="en-US" dirty="0"/>
              <a:t>The guidelines hardly keep up with the standardization of new C++ revisions, which is fortunate and unfortunate …</a:t>
            </a:r>
          </a:p>
          <a:p>
            <a:endParaRPr lang="en-US" dirty="0"/>
          </a:p>
          <a:p>
            <a:r>
              <a:rPr lang="en-US" dirty="0"/>
              <a:t>The guidelines were initially created with contributions from experts at CERN, Microsoft, Morgan Stanley, and several other organizations. Contributions are welcome. As Stroustrup said in his announcement: “We need help!”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BD83A6-65D4-C11D-E4E6-B19EA826BB1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C14CD3A7-9E40-46FB-A41D-9CC29415685D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1F4A1E-BCE8-86F5-7E21-FA723E4EE5C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1FB6D7-320D-1953-82D7-8E57AEA5BF4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r>
              <a:rPr lang="en-US" kern="1200">
                <a:solidFill>
                  <a:srgbClr val="000000"/>
                </a:solidFill>
                <a:ea typeface="Microsoft JhengHei"/>
              </a:rPr>
              <a:t>Page </a:t>
            </a:r>
            <a:fld id="{A2218858-49EA-4BF8-8EFE-B88A4580565A}" type="slidenum">
              <a:rPr kern="1200">
                <a:solidFill>
                  <a:srgbClr val="000000"/>
                </a:solidFill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33</a:t>
            </a:fld>
            <a:endParaRPr lang="en-US" kern="1200" dirty="0">
              <a:solidFill>
                <a:srgbClr val="000000"/>
              </a:solidFill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27200636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art van Tongeren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ftware architect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mail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bart.van.tongeren@asml.com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HTC - Eindhove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693800" y="4888708"/>
            <a:ext cx="6739200" cy="104943"/>
          </a:xfrm>
        </p:spPr>
        <p:txBody>
          <a:bodyPr/>
          <a:lstStyle/>
          <a:p>
            <a:pPr defTabSz="280800">
              <a:spcAft>
                <a:spcPts val="450"/>
              </a:spcAft>
              <a:buClrTx/>
            </a:pPr>
            <a:r>
              <a:rPr lang="en-US" kern="1200">
                <a:ea typeface="Microsoft JhengHei"/>
              </a:rPr>
              <a:t> </a:t>
            </a:r>
            <a:endParaRPr lang="en-US" kern="1200" dirty="0">
              <a:ea typeface="Microsoft JhengHe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573401" y="4888705"/>
            <a:ext cx="491399" cy="104776"/>
          </a:xfrm>
        </p:spPr>
        <p:txBody>
          <a:bodyPr/>
          <a:lstStyle/>
          <a:p>
            <a:pPr defTabSz="280800">
              <a:spcAft>
                <a:spcPts val="450"/>
              </a:spcAft>
              <a:buClrTx/>
            </a:pPr>
            <a:fld id="{A2218858-49EA-4BF8-8EFE-B88A4580565A}" type="slidenum">
              <a:rPr lang="en-US" kern="1200">
                <a:ea typeface="Microsoft JhengHei"/>
              </a:rPr>
              <a:pPr defTabSz="280800">
                <a:spcAft>
                  <a:spcPts val="450"/>
                </a:spcAft>
                <a:buClrTx/>
              </a:pPr>
              <a:t>34</a:t>
            </a:fld>
            <a:endParaRPr lang="en-US" kern="1200" dirty="0">
              <a:ea typeface="Microsoft JhengHei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defTabSz="280800">
              <a:lnSpc>
                <a:spcPct val="110000"/>
              </a:lnSpc>
              <a:buClrTx/>
            </a:pPr>
            <a:fld id="{DB389492-908D-414E-9B10-5FBA9AAE3E0E}" type="datetime4">
              <a:rPr lang="en-US" kern="1200">
                <a:ea typeface="Microsoft JhengHei"/>
              </a:rPr>
              <a:pPr defTabSz="280800">
                <a:lnSpc>
                  <a:spcPct val="110000"/>
                </a:lnSpc>
                <a:buClrTx/>
              </a:pPr>
              <a:t>November 27, 2024</a:t>
            </a:fld>
            <a:endParaRPr lang="en-US" kern="1200" dirty="0">
              <a:ea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3033180575"/>
      </p:ext>
    </p:extLst>
  </p:cSld>
  <p:clrMapOvr>
    <a:masterClrMapping/>
  </p:clrMapOvr>
  <p:transition spd="slow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7F65BE-4A71-E2A8-70BF-1EDC02B460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80844" y="2571750"/>
            <a:ext cx="8228700" cy="531372"/>
          </a:xfrm>
        </p:spPr>
        <p:txBody>
          <a:bodyPr/>
          <a:lstStyle/>
          <a:p>
            <a:r>
              <a:rPr lang="en-GB" dirty="0"/>
              <a:t>Short break of 15 minutes!</a:t>
            </a:r>
            <a:endParaRPr lang="en-NL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5B2F52E-5700-B4E5-C634-195832E3DB2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57172" y="1734671"/>
            <a:ext cx="8228700" cy="2796988"/>
          </a:xfrm>
        </p:spPr>
        <p:txBody>
          <a:bodyPr/>
          <a:lstStyle/>
          <a:p>
            <a:pPr marL="228600" indent="0">
              <a:lnSpc>
                <a:spcPct val="200000"/>
              </a:lnSpc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2FC3E-C43D-B185-B46A-16486F58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reak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453089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93C59639-AE18-4C60-AAF0-049D1EBB9F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7881" y="1965160"/>
            <a:ext cx="6681065" cy="1651747"/>
          </a:xfrm>
        </p:spPr>
        <p:txBody>
          <a:bodyPr>
            <a:normAutofit/>
          </a:bodyPr>
          <a:lstStyle/>
          <a:p>
            <a:r>
              <a:rPr lang="en-GB" dirty="0"/>
              <a:t>C++ Meetup</a:t>
            </a:r>
            <a:br>
              <a:rPr lang="en-GB" dirty="0"/>
            </a:br>
            <a:r>
              <a:rPr lang="en-GB" sz="3200" dirty="0"/>
              <a:t>Implementing Coding Standards</a:t>
            </a:r>
            <a:endParaRPr lang="en-NL" sz="32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3F2B5D-D38C-473A-BB50-D5FC980E6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r>
              <a:rPr lang="en-GB" dirty="0">
                <a:latin typeface="Work Sans"/>
              </a:rPr>
              <a:t>Paul Jansen</a:t>
            </a:r>
          </a:p>
          <a:p>
            <a:r>
              <a:rPr lang="en-GB" dirty="0">
                <a:latin typeface="Work Sans"/>
              </a:rPr>
              <a:t>27-Nov-202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028579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7F65BE-4A71-E2A8-70BF-1EDC02B46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400" dirty="0">
                <a:solidFill>
                  <a:schemeClr val="accent1"/>
                </a:solidFill>
                <a:latin typeface="Titillium Web SemiBold" panose="00000700000000000000" pitchFamily="2" charset="0"/>
              </a:rPr>
              <a:t>Introduction of myself</a:t>
            </a:r>
            <a:endParaRPr lang="en-NL" sz="2400" dirty="0">
              <a:solidFill>
                <a:schemeClr val="accent1"/>
              </a:solidFill>
              <a:latin typeface="Titillium Web SemiBold" panose="00000700000000000000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5B2F52E-5700-B4E5-C634-195832E3DB2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57172" y="1734671"/>
            <a:ext cx="8228700" cy="2796988"/>
          </a:xfrm>
        </p:spPr>
        <p:txBody>
          <a:bodyPr/>
          <a:lstStyle/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Graduated in philosophy and computer science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Founder and CEO of TIOBE Software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Researching programming languages: TIOBE Index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Researching software quality: TIOBE Quality Indicator</a:t>
            </a:r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/>
              <a:t>Hobbies: geocaching, tennis, </a:t>
            </a:r>
            <a:r>
              <a:rPr lang="en-GB" dirty="0" err="1"/>
              <a:t>Runescape</a:t>
            </a:r>
            <a:endParaRPr lang="en-GB" dirty="0"/>
          </a:p>
          <a:p>
            <a:pPr marL="5143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dirty="0"/>
              <a:t>Married: 2 child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2FC3E-C43D-B185-B46A-16486F58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ul Jansen</a:t>
            </a:r>
            <a:endParaRPr lang="en-NL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AD8BFD-0805-37CB-28B2-67F712608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9313" y="1121840"/>
            <a:ext cx="3029439" cy="349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38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2FC3E-C43D-B185-B46A-16486F58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OBE Index</a:t>
            </a:r>
            <a:endParaRPr lang="en-NL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DA0457-7A86-D8D6-05A5-96D6A3B595BA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679392" y="3945980"/>
            <a:ext cx="7386939" cy="1422600"/>
          </a:xfrm>
        </p:spPr>
        <p:txBody>
          <a:bodyPr/>
          <a:lstStyle/>
          <a:p>
            <a:r>
              <a:rPr lang="en-GB" dirty="0"/>
              <a:t>Bjarne </a:t>
            </a:r>
            <a:r>
              <a:rPr lang="en-GB" dirty="0" err="1"/>
              <a:t>Stroustrup</a:t>
            </a:r>
            <a:r>
              <a:rPr lang="en-GB" dirty="0"/>
              <a:t>: "The TIOBE index basically measures noise and ought to report their findings in decibel rather than popularity."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8CED25-FFC2-96AD-B787-9558977E84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046" y="845648"/>
            <a:ext cx="8894475" cy="294949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6C45A3-1983-9392-E692-9FAE858ED27F}"/>
              </a:ext>
            </a:extLst>
          </p:cNvPr>
          <p:cNvSpPr/>
          <p:nvPr/>
        </p:nvSpPr>
        <p:spPr>
          <a:xfrm>
            <a:off x="3932608" y="3595723"/>
            <a:ext cx="3162586" cy="302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pic>
        <p:nvPicPr>
          <p:cNvPr id="1030" name="Picture 6" descr="Meet Bjarne Stroustrup, Morgan Stanley’s Managing Director of Technology…">
            <a:extLst>
              <a:ext uri="{FF2B5EF4-FFF2-40B4-BE49-F238E27FC236}">
                <a16:creationId xmlns:a16="http://schemas.microsoft.com/office/drawing/2014/main" id="{D5B4CC8D-A703-124E-37E7-BA94D087D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9" y="3945980"/>
            <a:ext cx="1022432" cy="536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4D4D685-7319-DC59-5C07-AE9C0402DB13}"/>
              </a:ext>
            </a:extLst>
          </p:cNvPr>
          <p:cNvSpPr/>
          <p:nvPr/>
        </p:nvSpPr>
        <p:spPr>
          <a:xfrm rot="16200000">
            <a:off x="-94499" y="2316494"/>
            <a:ext cx="687089" cy="90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Decibel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9115AE1-43F9-B1A1-7E60-ECE4A5E5A8F1}"/>
              </a:ext>
            </a:extLst>
          </p:cNvPr>
          <p:cNvCxnSpPr/>
          <p:nvPr/>
        </p:nvCxnSpPr>
        <p:spPr>
          <a:xfrm>
            <a:off x="371260" y="2103595"/>
            <a:ext cx="0" cy="516101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6008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1990FC9-FFF9-4A4D-BB77-D00E08710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base</a:t>
            </a:r>
            <a:endParaRPr lang="en-NL" dirty="0"/>
          </a:p>
        </p:txBody>
      </p:sp>
      <p:pic>
        <p:nvPicPr>
          <p:cNvPr id="48" name="Google Shape;117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F708D82-B621-44A1-8F77-330E3ADB9C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5146" y="375446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Google Shape;118;p3" descr="Logo, company name&#10;&#10;Description automatically generated">
            <a:extLst>
              <a:ext uri="{FF2B5EF4-FFF2-40B4-BE49-F238E27FC236}">
                <a16:creationId xmlns:a16="http://schemas.microsoft.com/office/drawing/2014/main" id="{5152AD8A-78C1-43AA-AB2F-7B0FC404F30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7747" y="317602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Google Shape;119;p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CBB6A81-8307-4B7B-8302-549355B5912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40136" y="259693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120;p3" descr="Logo&#10;&#10;Description automatically generated">
            <a:extLst>
              <a:ext uri="{FF2B5EF4-FFF2-40B4-BE49-F238E27FC236}">
                <a16:creationId xmlns:a16="http://schemas.microsoft.com/office/drawing/2014/main" id="{6F6EA47E-7398-49CC-8376-72F9C0BFA40B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213469" y="804600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121;p3" descr="A blue and white sign&#10;&#10;Description automatically generated with low confidence">
            <a:extLst>
              <a:ext uri="{FF2B5EF4-FFF2-40B4-BE49-F238E27FC236}">
                <a16:creationId xmlns:a16="http://schemas.microsoft.com/office/drawing/2014/main" id="{D17ED24B-5435-4E36-B150-19D710B104E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56434" y="4678371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122;p3" descr="Logo, company name&#10;&#10;Description automatically generated">
            <a:extLst>
              <a:ext uri="{FF2B5EF4-FFF2-40B4-BE49-F238E27FC236}">
                <a16:creationId xmlns:a16="http://schemas.microsoft.com/office/drawing/2014/main" id="{12CDDC9E-2BF1-48D7-84C7-3CBD406A53C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31825" y="135967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123;p3" descr="Logo, company name&#10;&#10;Description automatically generated">
            <a:extLst>
              <a:ext uri="{FF2B5EF4-FFF2-40B4-BE49-F238E27FC236}">
                <a16:creationId xmlns:a16="http://schemas.microsoft.com/office/drawing/2014/main" id="{ED74F158-AE01-4D37-A5FF-A5441D96E30D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23002" y="4662985"/>
            <a:ext cx="1040250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125;p3" descr="Logo, company name&#10;&#10;Description automatically generated">
            <a:extLst>
              <a:ext uri="{FF2B5EF4-FFF2-40B4-BE49-F238E27FC236}">
                <a16:creationId xmlns:a16="http://schemas.microsoft.com/office/drawing/2014/main" id="{15251F50-EF82-4D52-85E9-1C492B04C549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52223" y="1778425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126;p3" descr="Logo&#10;&#10;Description automatically generated">
            <a:extLst>
              <a:ext uri="{FF2B5EF4-FFF2-40B4-BE49-F238E27FC236}">
                <a16:creationId xmlns:a16="http://schemas.microsoft.com/office/drawing/2014/main" id="{C42C518D-A92A-4C3B-B70E-39F93524F751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230620" y="373642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127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9A4074B-52E7-43B5-AD6B-7C73DA749DA1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258851" y="92180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130;p3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D2EA855E-89C8-4FC8-B76F-CD5AF11BB04D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543159" y="1514318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131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C27C038-AB1D-4CB4-A32B-F07170585352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5851757" y="320665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132;p3" descr="Logo, company name&#10;&#10;Description automatically generated">
            <a:extLst>
              <a:ext uri="{FF2B5EF4-FFF2-40B4-BE49-F238E27FC236}">
                <a16:creationId xmlns:a16="http://schemas.microsoft.com/office/drawing/2014/main" id="{1CCF3739-1123-49CD-878A-3106D56DBDE7}"/>
              </a:ext>
            </a:extLst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535692" y="2237971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135;p3" descr="Icon&#10;&#10;Description automatically generated">
            <a:extLst>
              <a:ext uri="{FF2B5EF4-FFF2-40B4-BE49-F238E27FC236}">
                <a16:creationId xmlns:a16="http://schemas.microsoft.com/office/drawing/2014/main" id="{FAFE1A20-50C4-40C2-B98C-86B320D6818F}"/>
              </a:ext>
            </a:extLst>
          </p:cNvPr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6100999" y="4167588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136;p3" descr="Icon&#10;&#10;Description automatically generated">
            <a:extLst>
              <a:ext uri="{FF2B5EF4-FFF2-40B4-BE49-F238E27FC236}">
                <a16:creationId xmlns:a16="http://schemas.microsoft.com/office/drawing/2014/main" id="{9DEF1E9A-59C3-49FC-BBF4-9B5C5BE26662}"/>
              </a:ext>
            </a:extLst>
          </p:cNvPr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2760795" y="186199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8" name="Google Shape;137;p3" descr="Logo&#10;&#10;Description automatically generated">
            <a:extLst>
              <a:ext uri="{FF2B5EF4-FFF2-40B4-BE49-F238E27FC236}">
                <a16:creationId xmlns:a16="http://schemas.microsoft.com/office/drawing/2014/main" id="{8D83DA7A-9743-4009-96B7-47E2A2369F24}"/>
              </a:ext>
            </a:extLst>
          </p:cNvPr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1570936" y="268122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9" name="Google Shape;138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518F1CC-BED2-422C-8106-086C286E722F}"/>
              </a:ext>
            </a:extLst>
          </p:cNvPr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4311201" y="417258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140;p3" descr="A picture containing text&#10;&#10;Description automatically generated">
            <a:extLst>
              <a:ext uri="{FF2B5EF4-FFF2-40B4-BE49-F238E27FC236}">
                <a16:creationId xmlns:a16="http://schemas.microsoft.com/office/drawing/2014/main" id="{69837B65-03CE-40A5-84B1-1EFD47490846}"/>
              </a:ext>
            </a:extLst>
          </p:cNvPr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3845925" y="326652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141;p3" descr="Logo, company name&#10;&#10;Description automatically generated">
            <a:extLst>
              <a:ext uri="{FF2B5EF4-FFF2-40B4-BE49-F238E27FC236}">
                <a16:creationId xmlns:a16="http://schemas.microsoft.com/office/drawing/2014/main" id="{95647916-0693-4EBC-8F57-5372870906E0}"/>
              </a:ext>
            </a:extLst>
          </p:cNvPr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2793373" y="4648486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142;p3" descr="Logo&#10;&#10;Description automatically generated with medium confidence">
            <a:extLst>
              <a:ext uri="{FF2B5EF4-FFF2-40B4-BE49-F238E27FC236}">
                <a16:creationId xmlns:a16="http://schemas.microsoft.com/office/drawing/2014/main" id="{C04DFB6A-52EA-4F85-B067-08CC93969EB0}"/>
              </a:ext>
            </a:extLst>
          </p:cNvPr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762209" y="273366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143;p3" descr="Logo, company name&#10;&#10;Description automatically generated">
            <a:extLst>
              <a:ext uri="{FF2B5EF4-FFF2-40B4-BE49-F238E27FC236}">
                <a16:creationId xmlns:a16="http://schemas.microsoft.com/office/drawing/2014/main" id="{A02D31E0-63E3-45F6-AA81-ED99D762E011}"/>
              </a:ext>
            </a:extLst>
          </p:cNvPr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4162722" y="4655182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146;p3" descr="Logo&#10;&#10;Description automatically generated">
            <a:extLst>
              <a:ext uri="{FF2B5EF4-FFF2-40B4-BE49-F238E27FC236}">
                <a16:creationId xmlns:a16="http://schemas.microsoft.com/office/drawing/2014/main" id="{6F42CA14-2EC5-425A-B26C-FD548F6DD602}"/>
              </a:ext>
            </a:extLst>
          </p:cNvPr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5315001" y="4197263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147;p3" descr="A picture containing icon&#10;&#10;Description automatically generated">
            <a:extLst>
              <a:ext uri="{FF2B5EF4-FFF2-40B4-BE49-F238E27FC236}">
                <a16:creationId xmlns:a16="http://schemas.microsoft.com/office/drawing/2014/main" id="{F9064B3A-B251-4A78-A98A-D84787128CAC}"/>
              </a:ext>
            </a:extLst>
          </p:cNvPr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3987984" y="171977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149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1BBEDB0-3241-44FB-A7BF-79E387D2F562}"/>
              </a:ext>
            </a:extLst>
          </p:cNvPr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97680" y="2202289"/>
            <a:ext cx="872252" cy="340278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Google Shape;150;p3" descr="Logo&#10;&#10;Description automatically generated with medium confidence">
            <a:extLst>
              <a:ext uri="{FF2B5EF4-FFF2-40B4-BE49-F238E27FC236}">
                <a16:creationId xmlns:a16="http://schemas.microsoft.com/office/drawing/2014/main" id="{3212A11A-A6FE-47B2-8BDA-500D3E2E8C18}"/>
              </a:ext>
            </a:extLst>
          </p:cNvPr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3356630" y="912814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2" name="Google Shape;151;p3">
            <a:extLst>
              <a:ext uri="{FF2B5EF4-FFF2-40B4-BE49-F238E27FC236}">
                <a16:creationId xmlns:a16="http://schemas.microsoft.com/office/drawing/2014/main" id="{6DCA5098-983B-4A84-8BDE-CFF7357910A4}"/>
              </a:ext>
            </a:extLst>
          </p:cNvPr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2393754" y="3738164"/>
            <a:ext cx="648742" cy="526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152;p3">
            <a:extLst>
              <a:ext uri="{FF2B5EF4-FFF2-40B4-BE49-F238E27FC236}">
                <a16:creationId xmlns:a16="http://schemas.microsoft.com/office/drawing/2014/main" id="{8431921D-CCC0-4414-8760-6148446A4779}"/>
              </a:ext>
            </a:extLst>
          </p:cNvPr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41568" y="4335627"/>
            <a:ext cx="1150454" cy="270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153;p3">
            <a:extLst>
              <a:ext uri="{FF2B5EF4-FFF2-40B4-BE49-F238E27FC236}">
                <a16:creationId xmlns:a16="http://schemas.microsoft.com/office/drawing/2014/main" id="{D79F6825-9400-459D-8C51-A07721C00884}"/>
              </a:ext>
            </a:extLst>
          </p:cNvPr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2726568" y="1388053"/>
            <a:ext cx="1194356" cy="3213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154;p3">
            <a:extLst>
              <a:ext uri="{FF2B5EF4-FFF2-40B4-BE49-F238E27FC236}">
                <a16:creationId xmlns:a16="http://schemas.microsoft.com/office/drawing/2014/main" id="{6C0084BF-8097-4C7D-92F1-6C8EF139FF9C}"/>
              </a:ext>
            </a:extLst>
          </p:cNvPr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5250487" y="3698058"/>
            <a:ext cx="662976" cy="559916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Picture 2">
            <a:extLst>
              <a:ext uri="{FF2B5EF4-FFF2-40B4-BE49-F238E27FC236}">
                <a16:creationId xmlns:a16="http://schemas.microsoft.com/office/drawing/2014/main" id="{849EBFAE-F93F-4CF9-8A08-C8DAE3183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727" y="2704869"/>
            <a:ext cx="673770" cy="410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Google Shape;111;p3">
            <a:extLst>
              <a:ext uri="{FF2B5EF4-FFF2-40B4-BE49-F238E27FC236}">
                <a16:creationId xmlns:a16="http://schemas.microsoft.com/office/drawing/2014/main" id="{A085CB2E-19A2-40B0-8BEA-B9BA89E1FC28}"/>
              </a:ext>
            </a:extLst>
          </p:cNvPr>
          <p:cNvSpPr/>
          <p:nvPr/>
        </p:nvSpPr>
        <p:spPr>
          <a:xfrm>
            <a:off x="5409988" y="939991"/>
            <a:ext cx="3502187" cy="2114802"/>
          </a:xfrm>
          <a:prstGeom prst="roundRect">
            <a:avLst>
              <a:gd name="adj" fmla="val 6200"/>
            </a:avLst>
          </a:prstGeom>
          <a:solidFill>
            <a:srgbClr val="24292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  <a:sym typeface="Roboto Light"/>
              </a:rPr>
              <a:t>  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 SemiBold"/>
              <a:ea typeface="Roboto Light"/>
              <a:cs typeface="Roboto Light"/>
              <a:sym typeface="Roboto Light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00A616C-06F2-4506-B980-EA2ADA296F68}"/>
              </a:ext>
            </a:extLst>
          </p:cNvPr>
          <p:cNvSpPr txBox="1"/>
          <p:nvPr/>
        </p:nvSpPr>
        <p:spPr>
          <a:xfrm>
            <a:off x="5659739" y="1491864"/>
            <a:ext cx="3154680" cy="141577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3"/>
              </a:buBlip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Roboto Light"/>
                <a:cs typeface="Roboto Light"/>
                <a:sym typeface="Roboto Light"/>
              </a:rPr>
              <a:t>Over 8,300 industrial proj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3"/>
              </a:buBlip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Roboto Light"/>
                <a:cs typeface="Roboto Light"/>
                <a:sym typeface="Roboto Light"/>
              </a:rPr>
              <a:t>1.5 billion LOCs each da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Roboto Light"/>
              <a:cs typeface="Roboto Light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3"/>
              </a:buBlip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Roboto Light"/>
                <a:cs typeface="Roboto Light"/>
                <a:sym typeface="Roboto Light"/>
              </a:rPr>
              <a:t>World-wide custom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Roboto Light"/>
              <a:cs typeface="Roboto Light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3"/>
              </a:buBlip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Roboto Light"/>
                <a:cs typeface="Roboto Light"/>
                <a:sym typeface="Roboto Light"/>
              </a:rPr>
              <a:t>Across all domai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Roboto Light"/>
              <a:cs typeface="Roboto Light"/>
              <a:sym typeface="Arial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EA066AF-0A24-480D-BAF3-00DBB9F742F7}"/>
              </a:ext>
            </a:extLst>
          </p:cNvPr>
          <p:cNvSpPr txBox="1"/>
          <p:nvPr/>
        </p:nvSpPr>
        <p:spPr>
          <a:xfrm>
            <a:off x="5471094" y="1067224"/>
            <a:ext cx="33433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 SemiBold"/>
                <a:ea typeface="Roboto Light"/>
                <a:cs typeface="Roboto Light"/>
                <a:sym typeface="Roboto Light"/>
              </a:rPr>
              <a:t>Checking ISO25010 code quality</a:t>
            </a:r>
            <a:endParaRPr kumimoji="0" lang="en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 descr="Desk Phones, VoIP Office Phones, and Headsets | Voxtell">
            <a:extLst>
              <a:ext uri="{FF2B5EF4-FFF2-40B4-BE49-F238E27FC236}">
                <a16:creationId xmlns:a16="http://schemas.microsoft.com/office/drawing/2014/main" id="{B5D9B8A9-95DE-E30E-2B99-5AAB658F9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26622" y="2084744"/>
            <a:ext cx="178321" cy="12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eutsche Bundesbank - Wikipedia">
            <a:extLst>
              <a:ext uri="{FF2B5EF4-FFF2-40B4-BE49-F238E27FC236}">
                <a16:creationId xmlns:a16="http://schemas.microsoft.com/office/drawing/2014/main" id="{BD066710-78BC-3A6D-45ED-DD586C582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8752" y="2017906"/>
            <a:ext cx="1206201" cy="46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ptiv | Home - Global Technology Company">
            <a:extLst>
              <a:ext uri="{FF2B5EF4-FFF2-40B4-BE49-F238E27FC236}">
                <a16:creationId xmlns:a16="http://schemas.microsoft.com/office/drawing/2014/main" id="{91D919DF-34A4-71B6-788A-59400DD3B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890" y="3213658"/>
            <a:ext cx="1490227" cy="33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AB7F8B1C-7555-A0CC-E16E-41A3B4BF115C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1501799" y="4333075"/>
            <a:ext cx="1269802" cy="263259"/>
          </a:xfrm>
          <a:prstGeom prst="rect">
            <a:avLst/>
          </a:prstGeom>
        </p:spPr>
      </p:pic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3726A59A-204E-2275-EDA0-34FD0B69F3F2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5407986" y="4552769"/>
            <a:ext cx="1064419" cy="565071"/>
          </a:xfrm>
          <a:prstGeom prst="rect">
            <a:avLst/>
          </a:prstGeom>
        </p:spPr>
      </p:pic>
      <p:pic>
        <p:nvPicPr>
          <p:cNvPr id="8" name="Picture 7" descr="Gamania - Wikipedia">
            <a:extLst>
              <a:ext uri="{FF2B5EF4-FFF2-40B4-BE49-F238E27FC236}">
                <a16:creationId xmlns:a16="http://schemas.microsoft.com/office/drawing/2014/main" id="{5F64CF44-2A02-14C3-9194-C65FE78B71C4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641004" y="3792413"/>
            <a:ext cx="506897" cy="439851"/>
          </a:xfrm>
          <a:prstGeom prst="rect">
            <a:avLst/>
          </a:prstGeom>
        </p:spPr>
      </p:pic>
      <p:pic>
        <p:nvPicPr>
          <p:cNvPr id="11" name="Picture 10" descr="A logo with a letter s&#10;&#10;Description automatically generated">
            <a:extLst>
              <a:ext uri="{FF2B5EF4-FFF2-40B4-BE49-F238E27FC236}">
                <a16:creationId xmlns:a16="http://schemas.microsoft.com/office/drawing/2014/main" id="{DA46737D-A48B-318A-CEAE-4C0412BB8B1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74569" y="3128247"/>
            <a:ext cx="674618" cy="570448"/>
          </a:xfrm>
          <a:prstGeom prst="rect">
            <a:avLst/>
          </a:prstGeom>
        </p:spPr>
      </p:pic>
      <p:pic>
        <p:nvPicPr>
          <p:cNvPr id="4" name="Picture 3" descr="File:Karl Storz Endoskope logo.svg - Wikimedia Commons">
            <a:extLst>
              <a:ext uri="{FF2B5EF4-FFF2-40B4-BE49-F238E27FC236}">
                <a16:creationId xmlns:a16="http://schemas.microsoft.com/office/drawing/2014/main" id="{F936B851-465E-DD62-9C04-E74FDC473540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032073" y="3265786"/>
            <a:ext cx="811283" cy="292162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2E80EBD-5A1D-41F9-A97C-09DDC7CF9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886" y="1121784"/>
            <a:ext cx="1179520" cy="35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nexis Logo PNG Vectors Free Download">
            <a:extLst>
              <a:ext uri="{FF2B5EF4-FFF2-40B4-BE49-F238E27FC236}">
                <a16:creationId xmlns:a16="http://schemas.microsoft.com/office/drawing/2014/main" id="{D3752825-FB7A-8C22-B994-F60654FEBE38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3847096" y="2215534"/>
            <a:ext cx="1294398" cy="441720"/>
          </a:xfrm>
          <a:prstGeom prst="rect">
            <a:avLst/>
          </a:prstGeom>
        </p:spPr>
      </p:pic>
      <p:pic>
        <p:nvPicPr>
          <p:cNvPr id="12" name="Picture 11" descr="Koninklijke Schiphol Group kiest voor Berenschot &amp; eelloo">
            <a:extLst>
              <a:ext uri="{FF2B5EF4-FFF2-40B4-BE49-F238E27FC236}">
                <a16:creationId xmlns:a16="http://schemas.microsoft.com/office/drawing/2014/main" id="{25BCCC37-FD2E-5053-EDF3-D0A1E45F4B62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4097903" y="754392"/>
            <a:ext cx="1125747" cy="605900"/>
          </a:xfrm>
          <a:prstGeom prst="rect">
            <a:avLst/>
          </a:prstGeom>
        </p:spPr>
      </p:pic>
      <p:pic>
        <p:nvPicPr>
          <p:cNvPr id="18" name="Picture 17" descr="한국신용정보 - 한국신용정보">
            <a:extLst>
              <a:ext uri="{FF2B5EF4-FFF2-40B4-BE49-F238E27FC236}">
                <a16:creationId xmlns:a16="http://schemas.microsoft.com/office/drawing/2014/main" id="{B842A703-8FFE-FA38-91D3-C03E9E946FB3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776726" y="4246410"/>
            <a:ext cx="1039484" cy="468415"/>
          </a:xfrm>
          <a:prstGeom prst="rect">
            <a:avLst/>
          </a:prstGeom>
        </p:spPr>
      </p:pic>
      <p:pic>
        <p:nvPicPr>
          <p:cNvPr id="1034" name="Picture 10" descr="Navico-Group-Logo - Fishing Tackle Retailer">
            <a:extLst>
              <a:ext uri="{FF2B5EF4-FFF2-40B4-BE49-F238E27FC236}">
                <a16:creationId xmlns:a16="http://schemas.microsoft.com/office/drawing/2014/main" id="{3B17E392-754F-D412-8E12-7E442F89C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088" y="3666470"/>
            <a:ext cx="921859" cy="55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4C39B0FD-7480-0EFA-0A54-5AD612446E1A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6428630" y="4589626"/>
            <a:ext cx="806727" cy="473351"/>
          </a:xfrm>
          <a:prstGeom prst="rect">
            <a:avLst/>
          </a:prstGeom>
        </p:spPr>
      </p:pic>
      <p:pic>
        <p:nvPicPr>
          <p:cNvPr id="17" name="Picture 16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BC8C564-3C4D-4ABA-4C80-CAAA6B30D6FD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255397" y="1226985"/>
            <a:ext cx="963824" cy="386390"/>
          </a:xfrm>
          <a:prstGeom prst="rect">
            <a:avLst/>
          </a:prstGeom>
        </p:spPr>
      </p:pic>
      <p:pic>
        <p:nvPicPr>
          <p:cNvPr id="76" name="Google Shape;145;p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5B05F03-10B4-4F6E-889D-55AACAA2C61F}"/>
              </a:ext>
            </a:extLst>
          </p:cNvPr>
          <p:cNvPicPr preferRelativeResize="0"/>
          <p:nvPr/>
        </p:nvPicPr>
        <p:blipFill rotWithShape="1">
          <a:blip r:embed="rId49">
            <a:alphaModFix/>
          </a:blip>
          <a:srcRect/>
          <a:stretch/>
        </p:blipFill>
        <p:spPr>
          <a:xfrm>
            <a:off x="5851757" y="3688609"/>
            <a:ext cx="1126514" cy="4394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762FD4-3797-B966-5E54-6744947727F3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6981079" y="3315053"/>
            <a:ext cx="1929142" cy="1156186"/>
          </a:xfrm>
          <a:prstGeom prst="rect">
            <a:avLst/>
          </a:prstGeom>
        </p:spPr>
      </p:pic>
      <p:pic>
        <p:nvPicPr>
          <p:cNvPr id="9" name="Picture 8" descr="Sorama's System Turns Precise Sound &amp; Vibration Measurements Into IR-Like  Images | Tom's Hardware">
            <a:extLst>
              <a:ext uri="{FF2B5EF4-FFF2-40B4-BE49-F238E27FC236}">
                <a16:creationId xmlns:a16="http://schemas.microsoft.com/office/drawing/2014/main" id="{6E5CA2F1-0F47-8399-044C-FB2287D6F3C2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3692031" y="4269286"/>
            <a:ext cx="773714" cy="37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492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815C6-3AD0-46E6-A74A-1967BD91AF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36079" y="508439"/>
            <a:ext cx="5142219" cy="2692947"/>
          </a:xfrm>
        </p:spPr>
        <p:txBody>
          <a:bodyPr>
            <a:normAutofit/>
          </a:bodyPr>
          <a:lstStyle/>
          <a:p>
            <a:r>
              <a:rPr lang="en-US" dirty="0"/>
              <a:t>C++ Default Guidelines</a:t>
            </a:r>
          </a:p>
        </p:txBody>
      </p:sp>
    </p:spTree>
    <p:extLst>
      <p:ext uri="{BB962C8B-B14F-4D97-AF65-F5344CB8AC3E}">
        <p14:creationId xmlns:p14="http://schemas.microsoft.com/office/powerpoint/2010/main" val="16424253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7F65BE-4A71-E2A8-70BF-1EDC02B46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007BC1"/>
                </a:solidFill>
                <a:latin typeface="+mj-lt"/>
              </a:rPr>
              <a:t>Overview </a:t>
            </a:r>
            <a:endParaRPr lang="en-NL" sz="2400" dirty="0">
              <a:solidFill>
                <a:srgbClr val="007BC1"/>
              </a:solidFill>
              <a:latin typeface="+mj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5B2F52E-5700-B4E5-C634-195832E3DB2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57172" y="1734671"/>
            <a:ext cx="8228700" cy="2796988"/>
          </a:xfrm>
        </p:spPr>
        <p:txBody>
          <a:bodyPr/>
          <a:lstStyle/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How to design a C++ coding standard rule (implementation) properly?</a:t>
            </a:r>
            <a:endParaRPr lang="en-US" dirty="0"/>
          </a:p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What tools could you use to check a C++ coding standard?</a:t>
            </a:r>
          </a:p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What pitfalls should you avoid when introducing C++ coding standards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2FC3E-C43D-B185-B46A-16486F58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52844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3ABF18-CA23-2903-7B68-1D7A0AE30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BC1BEA-463B-A28E-52D9-28A6DCEAF449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420801" y="1136272"/>
            <a:ext cx="5877548" cy="310371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Axiom 1: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If you don't implement your coding standards they will not be followed</a:t>
            </a:r>
            <a:endParaRPr lang="en-NL" sz="3200" dirty="0">
              <a:solidFill>
                <a:srgbClr val="007BC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AA028A-26AC-6C33-A7E0-E7443303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xiom 1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483491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D6B455-F08E-D21E-0047-1EBD76584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68907E-0275-E33C-0D4E-09445F7245D4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372675" y="1019892"/>
            <a:ext cx="5877548" cy="310371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Axiom 2: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Implementing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coding standards comes with great responsibility</a:t>
            </a:r>
            <a:endParaRPr lang="en-NL" sz="3200" dirty="0">
              <a:solidFill>
                <a:srgbClr val="007BC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4341DB6-F660-E226-4C22-D0D4E68F3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xiom 2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109945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7958B-E09C-7061-16F5-4D57B86654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981997-9713-1DEC-ADF1-8EBC82BB18EC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74671" y="1008249"/>
            <a:ext cx="3667941" cy="2796988"/>
          </a:xfrm>
        </p:spPr>
        <p:txBody>
          <a:bodyPr/>
          <a:lstStyle/>
          <a:p>
            <a:pPr marL="228600" indent="0">
              <a:lnSpc>
                <a:spcPct val="300000"/>
              </a:lnSpc>
            </a:pPr>
            <a:r>
              <a:rPr lang="en-GB" sz="2000" dirty="0">
                <a:solidFill>
                  <a:srgbClr val="007BC1"/>
                </a:solidFill>
                <a:latin typeface="+mj-lt"/>
              </a:rPr>
              <a:t>               Benefits</a:t>
            </a:r>
            <a:r>
              <a:rPr lang="en-GB" sz="1400" dirty="0">
                <a:solidFill>
                  <a:srgbClr val="007BC1"/>
                </a:solidFill>
                <a:latin typeface="+mj-lt"/>
              </a:rPr>
              <a:t> </a:t>
            </a:r>
          </a:p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Avoiding programming mistakes</a:t>
            </a:r>
            <a:endParaRPr lang="en-US" dirty="0"/>
          </a:p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Educating programmers</a:t>
            </a:r>
          </a:p>
          <a:p>
            <a:pPr marL="5143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Work Sans"/>
              </a:rPr>
              <a:t>Producing maintainable co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592BD3-16A4-2EAA-B091-66CCED042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lancing coding standards rules</a:t>
            </a:r>
            <a:endParaRPr lang="en-N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B7C3EA-7A17-783B-2367-33F98F62BB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0274" y="846429"/>
            <a:ext cx="2438740" cy="1438476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88DFA3-717C-E5C6-2059-EC7388AA5E21}"/>
              </a:ext>
            </a:extLst>
          </p:cNvPr>
          <p:cNvSpPr txBox="1">
            <a:spLocks/>
          </p:cNvSpPr>
          <p:nvPr/>
        </p:nvSpPr>
        <p:spPr>
          <a:xfrm>
            <a:off x="5590895" y="1008249"/>
            <a:ext cx="3667941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            Investments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 </a:t>
            </a:r>
          </a:p>
          <a:p>
            <a:pPr marL="514350" marR="0" lvl="0" indent="-28575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osts of fixing viola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anose="00000500000000000000" pitchFamily="2" charset="0"/>
              <a:cs typeface="Arial"/>
              <a:sym typeface="Arial"/>
            </a:endParaRPr>
          </a:p>
          <a:p>
            <a:pPr marL="514350" marR="0" lvl="0" indent="-28575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osts of running tools</a:t>
            </a:r>
          </a:p>
          <a:p>
            <a:pPr marL="514350" marR="0" lvl="0" indent="-28575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osts of implementing rules</a:t>
            </a:r>
          </a:p>
          <a:p>
            <a:pPr marL="514350" marR="0" lvl="0" indent="-28575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osts of false positives</a:t>
            </a:r>
          </a:p>
        </p:txBody>
      </p:sp>
    </p:spTree>
    <p:extLst>
      <p:ext uri="{BB962C8B-B14F-4D97-AF65-F5344CB8AC3E}">
        <p14:creationId xmlns:p14="http://schemas.microsoft.com/office/powerpoint/2010/main" val="758309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3C01B-5E36-A127-C986-64DDE91E3D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16510-00F2-42C8-5A6E-6010D3589353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6768960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irtual int foo(int x) {</a:t>
            </a:r>
          </a:p>
          <a:p>
            <a:pPr>
              <a:lnSpc>
                <a:spcPct val="150000"/>
              </a:lnSpc>
            </a:pPr>
            <a:r>
              <a:rPr lang="en-GB" sz="2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return 42;</a:t>
            </a:r>
          </a:p>
          <a:p>
            <a:pPr>
              <a:lnSpc>
                <a:spcPct val="150000"/>
              </a:lnSpc>
            </a:pPr>
            <a:r>
              <a:rPr lang="en-GB" sz="2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NL" sz="2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C52FE0-9544-5459-437B-42476A1EF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iler warning</a:t>
            </a:r>
            <a:endParaRPr lang="en-NL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0121EA78-C225-E02E-D2DE-220BFE0178F2}"/>
              </a:ext>
            </a:extLst>
          </p:cNvPr>
          <p:cNvSpPr txBox="1">
            <a:spLocks/>
          </p:cNvSpPr>
          <p:nvPr/>
        </p:nvSpPr>
        <p:spPr>
          <a:xfrm>
            <a:off x="5315887" y="765267"/>
            <a:ext cx="3667941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Fixes for “unused parameters”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BC1"/>
              </a:solidFill>
              <a:effectLst/>
              <a:uLnTx/>
              <a:uFillTx/>
              <a:latin typeface="Titillium Web SemiBold"/>
              <a:cs typeface="Arial"/>
              <a:sym typeface="Arial"/>
            </a:endParaRP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Disable the compiler warning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anose="00000500000000000000" pitchFamily="2" charset="0"/>
              <a:cs typeface="Arial"/>
              <a:sym typeface="Arial"/>
            </a:endParaRP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Use “x;” 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Use “(void) x;” 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Use “DISCARD(x)” or similar 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Use “int foo(int) {”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280A45-BDE8-FC2C-0471-745792DE4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1594" y="4003908"/>
            <a:ext cx="389216" cy="3246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5E6855-F0FF-5C82-8B1E-8E813B624E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1512" y="1861688"/>
            <a:ext cx="311695" cy="3158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3631B5-A1E7-BEE2-27AB-90BC1EA4FA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8857" y="2400087"/>
            <a:ext cx="311695" cy="3158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E6BDE43-2A70-C72F-4056-C85AD1AA61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4375" y="2935364"/>
            <a:ext cx="311695" cy="31582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270033-10BA-9CEA-4F37-A396368A18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6531" y="3454833"/>
            <a:ext cx="311695" cy="3158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78ED7E3-9E8A-34FA-5A23-F49E92F20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8226" y="3438718"/>
            <a:ext cx="389216" cy="324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701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62115-AF04-7233-4332-A4C7BF5D4A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6B2877-57AA-F464-1FCC-F01D192AA73C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6768960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foo(int x) {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nt result = 0;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f (problem1) {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  result = 1;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lse if (problem2) {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esult = 2;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else {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 (the real code)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return result;</a:t>
            </a:r>
          </a:p>
          <a:p>
            <a:pPr>
              <a:lnSpc>
                <a:spcPct val="150000"/>
              </a:lnSpc>
            </a:pPr>
            <a:r>
              <a:rPr lang="en-GB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endParaRPr lang="en-NL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CF0064-FC7D-D956-AA60-072195DC6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5888" y="380999"/>
            <a:ext cx="3750444" cy="354403"/>
          </a:xfrm>
        </p:spPr>
        <p:txBody>
          <a:bodyPr>
            <a:normAutofit/>
          </a:bodyPr>
          <a:lstStyle/>
          <a:p>
            <a:r>
              <a:rPr lang="en-GB" dirty="0"/>
              <a:t>R</a:t>
            </a:r>
            <a:r>
              <a:rPr lang="en-US" dirty="0"/>
              <a:t>ule “Don’t use multiple returns in a function”</a:t>
            </a:r>
            <a:endParaRPr lang="en-NL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4D01E00B-7019-C72C-5F9F-14C90D8D0FF1}"/>
              </a:ext>
            </a:extLst>
          </p:cNvPr>
          <p:cNvSpPr txBox="1">
            <a:spLocks/>
          </p:cNvSpPr>
          <p:nvPr/>
        </p:nvSpPr>
        <p:spPr>
          <a:xfrm>
            <a:off x="4723255" y="765267"/>
            <a:ext cx="4260574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Instead “don’t return in deep state”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BC1"/>
              </a:solidFill>
              <a:effectLst/>
              <a:uLnTx/>
              <a:uFillTx/>
              <a:latin typeface="Titillium Web SemiBold"/>
              <a:cs typeface="Arial"/>
              <a:sym typeface="Arial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t foo(int x) {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if (problem1) {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	  return 1;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… (the real code)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if (…) { 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  if (…) { 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    for (…) {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      if (…) {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        return 42;</a:t>
            </a:r>
          </a:p>
          <a:p>
            <a:pPr marL="4572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9672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CF0F1-8DEF-43F2-21C4-8140197E00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F6C308D-0BC7-37F3-9786-F1543A14A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5888" y="380999"/>
            <a:ext cx="3750444" cy="354403"/>
          </a:xfrm>
        </p:spPr>
        <p:txBody>
          <a:bodyPr>
            <a:normAutofit/>
          </a:bodyPr>
          <a:lstStyle/>
          <a:p>
            <a:r>
              <a:rPr lang="en-GB" dirty="0"/>
              <a:t>R</a:t>
            </a:r>
            <a:r>
              <a:rPr lang="en-US" dirty="0"/>
              <a:t>ule “Use braces for control statements”</a:t>
            </a:r>
            <a:endParaRPr lang="en-NL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83EC8244-71F8-DD7F-16DC-2B3E5B7977ED}"/>
              </a:ext>
            </a:extLst>
          </p:cNvPr>
          <p:cNvSpPr txBox="1">
            <a:spLocks/>
          </p:cNvSpPr>
          <p:nvPr/>
        </p:nvSpPr>
        <p:spPr>
          <a:xfrm>
            <a:off x="4255741" y="817904"/>
            <a:ext cx="4791333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We try to prevent: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BC1"/>
              </a:solidFill>
              <a:effectLst/>
              <a:uLnTx/>
              <a:uFillTx/>
              <a:latin typeface="Titillium Web SemiBold"/>
              <a:cs typeface="Arial"/>
              <a:sym typeface="Arial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f (foo &gt; 0);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f (foo &gt; 0) foo = 0; bar = 42;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f (bar &lt; 42)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foo = 0;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bar = 42;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cs typeface="Arial"/>
              <a:sym typeface="Arial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FA67C18-6D2D-AB4E-08BA-DCABB6F308F8}"/>
              </a:ext>
            </a:extLst>
          </p:cNvPr>
          <p:cNvSpPr txBox="1">
            <a:spLocks/>
          </p:cNvSpPr>
          <p:nvPr/>
        </p:nvSpPr>
        <p:spPr>
          <a:xfrm>
            <a:off x="380178" y="817904"/>
            <a:ext cx="4260574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7BC1"/>
                </a:solidFill>
                <a:effectLst/>
                <a:uLnTx/>
                <a:uFillTx/>
                <a:latin typeface="Titillium Web SemiBold"/>
                <a:cs typeface="Arial"/>
                <a:sym typeface="Arial"/>
              </a:rPr>
              <a:t>What is wrong with: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7BC1"/>
              </a:solidFill>
              <a:effectLst/>
              <a:uLnTx/>
              <a:uFillTx/>
              <a:latin typeface="Titillium Web SemiBold"/>
              <a:cs typeface="Arial"/>
              <a:sym typeface="Arial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f (foo &gt; 0) foo = 0; 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f (bar &lt; 42) 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 bar = 42;</a:t>
            </a:r>
          </a:p>
          <a:p>
            <a:pPr marL="4572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ext statement;</a:t>
            </a:r>
          </a:p>
        </p:txBody>
      </p:sp>
    </p:spTree>
    <p:extLst>
      <p:ext uri="{BB962C8B-B14F-4D97-AF65-F5344CB8AC3E}">
        <p14:creationId xmlns:p14="http://schemas.microsoft.com/office/powerpoint/2010/main" val="1064523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83153F-61C4-0A10-EA73-1CD33F8D95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AB348C-3E9A-7457-2FE4-EB72C777B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5888" y="380999"/>
            <a:ext cx="3750444" cy="354403"/>
          </a:xfrm>
        </p:spPr>
        <p:txBody>
          <a:bodyPr>
            <a:normAutofit/>
          </a:bodyPr>
          <a:lstStyle/>
          <a:p>
            <a:r>
              <a:rPr lang="en-GB" dirty="0"/>
              <a:t>Example C++ Core Guideline rule</a:t>
            </a:r>
            <a:endParaRPr lang="en-N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2DC9C7-FC6E-5746-35D1-685FD9D20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6670"/>
            <a:ext cx="9144000" cy="2795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5DF38D2-9160-F50D-1C5F-4CDD8BDE7B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27" y="3699501"/>
            <a:ext cx="9095873" cy="94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401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6AAD8-2B57-C127-9A7E-EB17FBE34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12EB6C-C037-F61C-2EED-3763D1869055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7906466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  <a:latin typeface="+mj-lt"/>
              </a:rPr>
              <a:t>Check for the following pattern:</a:t>
            </a:r>
          </a:p>
          <a:p>
            <a:pPr>
              <a:lnSpc>
                <a:spcPct val="150000"/>
              </a:lnSpc>
            </a:pPr>
            <a:endParaRPr lang="en-GB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3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foo(int height, int width);</a:t>
            </a:r>
          </a:p>
          <a:p>
            <a:r>
              <a:rPr lang="en-GB" sz="3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GB" sz="3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(</a:t>
            </a:r>
            <a:r>
              <a:rPr lang="en-GB" sz="3200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_width</a:t>
            </a:r>
            <a:r>
              <a:rPr lang="en-GB" sz="3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3200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_height</a:t>
            </a:r>
            <a:r>
              <a:rPr lang="en-GB" sz="3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NL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134227-18D3-922E-247D-920A7C31B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plementing C++ Core Guideline I.2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443571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B6206-3F7B-81D1-9156-D6CCE61EA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FEDCF2-6A9C-21B4-725F-37B3128C3C5D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7906466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dirty="0">
                <a:solidFill>
                  <a:srgbClr val="007BC1"/>
                </a:solidFill>
                <a:latin typeface="+mj-lt"/>
              </a:rPr>
              <a:t>Available C++ coding standards:</a:t>
            </a:r>
          </a:p>
          <a:p>
            <a:pPr>
              <a:lnSpc>
                <a:spcPct val="150000"/>
              </a:lnSpc>
            </a:pPr>
            <a:endParaRPr lang="en-GB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51E46F2-E61E-F7BC-AE04-94834B97F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</a:t>
            </a:r>
            <a:r>
              <a:rPr lang="en-US" dirty="0"/>
              <a:t>++ Coding Standards</a:t>
            </a:r>
            <a:endParaRPr lang="en-NL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DF1824D-4CB5-2EC2-0F37-8AF4E6EBB7CE}"/>
              </a:ext>
            </a:extLst>
          </p:cNvPr>
          <p:cNvSpPr txBox="1">
            <a:spLocks/>
          </p:cNvSpPr>
          <p:nvPr/>
        </p:nvSpPr>
        <p:spPr>
          <a:xfrm>
            <a:off x="457172" y="1734671"/>
            <a:ext cx="8228700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MISRA-C++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Google C++ Style Guide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++ Core Guidelines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Philips C++ Coding Standar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055D24-77E0-F3B6-8DC0-BA6A70E8E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4534" y="900648"/>
            <a:ext cx="3720409" cy="3919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302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9F29B-F233-48AF-8261-F33A4E079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265" y="322096"/>
            <a:ext cx="4757738" cy="82473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E3EA69-4E0E-41BD-8095-A124225A26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704035" y="1245865"/>
            <a:ext cx="4754165" cy="2001440"/>
          </a:xfrm>
        </p:spPr>
        <p:txBody>
          <a:bodyPr vert="horz" lIns="68580" tIns="34290" rIns="68580" bIns="34290" rtlCol="0" anchor="t">
            <a:normAutofit fontScale="62500" lnSpcReduction="20000"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Who is Jan Wilmans?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Why yet another set of guidelines?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Defaults &gt; Guidelin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Discussion!</a:t>
            </a:r>
            <a:endParaRPr lang="en-US"/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Final tips &amp; takeaways</a:t>
            </a:r>
          </a:p>
          <a:p>
            <a:r>
              <a:rPr lang="en-US" dirty="0"/>
              <a:t>	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927DCA-F11F-1716-00DA-9EF49F131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B5CEABB6-07DC-46E8-9B57-56EC44A396E5}" type="slidenum">
              <a:rPr lang="en-US" kern="120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pPr defTabSz="685800">
                <a:buClrTx/>
              </a:pPr>
              <a:t>5</a:t>
            </a:fld>
            <a:endParaRPr lang="en-US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49499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E1C88-BEE9-9F1B-C87A-8EBA70270F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D15F917-857B-5403-37B3-BE7E96063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0752" y="380999"/>
            <a:ext cx="4425579" cy="354403"/>
          </a:xfrm>
        </p:spPr>
        <p:txBody>
          <a:bodyPr>
            <a:normAutofit fontScale="90000"/>
          </a:bodyPr>
          <a:lstStyle/>
          <a:p>
            <a:r>
              <a:rPr lang="en-GB" dirty="0"/>
              <a:t>The consequences of MISRA-C++ (yesterday on </a:t>
            </a:r>
            <a:r>
              <a:rPr lang="en-GB" dirty="0" err="1"/>
              <a:t>Linkedin</a:t>
            </a:r>
            <a:r>
              <a:rPr lang="en-GB" dirty="0"/>
              <a:t>)</a:t>
            </a:r>
            <a:endParaRPr lang="en-NL" dirty="0"/>
          </a:p>
        </p:txBody>
      </p:sp>
      <p:pic>
        <p:nvPicPr>
          <p:cNvPr id="8" name="Picture 7" descr="A group of people walking down a street with boxes&#10;&#10;Description automatically generated">
            <a:extLst>
              <a:ext uri="{FF2B5EF4-FFF2-40B4-BE49-F238E27FC236}">
                <a16:creationId xmlns:a16="http://schemas.microsoft.com/office/drawing/2014/main" id="{D755DE79-31D6-83B4-A040-5167DD2ED0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1218" y="942829"/>
            <a:ext cx="2981563" cy="397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04291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81C6E6-723F-9F82-1726-BE1643875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175F0A-9FC8-8350-36EE-3A2FB3E6E849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7906466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dirty="0">
                <a:solidFill>
                  <a:srgbClr val="007BC1"/>
                </a:solidFill>
                <a:latin typeface="+mj-lt"/>
              </a:rPr>
              <a:t>TIOBE has adopted the Philips C++ Coding Standards</a:t>
            </a:r>
          </a:p>
          <a:p>
            <a:pPr>
              <a:lnSpc>
                <a:spcPct val="150000"/>
              </a:lnSpc>
            </a:pPr>
            <a:endParaRPr lang="en-GB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533E4E-4AE9-529E-CF5F-8738A7FA1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22" y="380999"/>
            <a:ext cx="3720409" cy="354403"/>
          </a:xfrm>
        </p:spPr>
        <p:txBody>
          <a:bodyPr>
            <a:normAutofit/>
          </a:bodyPr>
          <a:lstStyle/>
          <a:p>
            <a:r>
              <a:rPr lang="en-GB" dirty="0"/>
              <a:t>TIOBE’s choice</a:t>
            </a:r>
            <a:endParaRPr lang="en-NL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40BF52F-7D69-22FE-A18D-D6FC30AA6502}"/>
              </a:ext>
            </a:extLst>
          </p:cNvPr>
          <p:cNvSpPr txBox="1">
            <a:spLocks/>
          </p:cNvSpPr>
          <p:nvPr/>
        </p:nvSpPr>
        <p:spPr>
          <a:xfrm>
            <a:off x="457650" y="1611109"/>
            <a:ext cx="8228700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It is based on a selection of C++ Core Guidelines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Combined with common sense rules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It is fit for industrial use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Adjusted once a month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Used by almost all TIOBE C++ customers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Available on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  <a:hlinkClick r:id="rId3"/>
              </a:rPr>
              <a:t>www.tiobe.com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5AB487-665B-08C8-670B-AC2DE7C069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1841" y="2421671"/>
            <a:ext cx="4214490" cy="20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15087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19C03-91DC-2E32-F8E4-B2EC82BFD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E4EF7CC-7928-DC2B-5D95-2B0A59E20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22" y="380999"/>
            <a:ext cx="3720409" cy="354403"/>
          </a:xfrm>
        </p:spPr>
        <p:txBody>
          <a:bodyPr>
            <a:normAutofit/>
          </a:bodyPr>
          <a:lstStyle/>
          <a:p>
            <a:r>
              <a:rPr lang="en-GB" dirty="0"/>
              <a:t>Changes are enforced!</a:t>
            </a:r>
            <a:endParaRPr lang="en-N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D751F9-3EFA-70DD-FADD-8C134D8863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913" y="852552"/>
            <a:ext cx="5074820" cy="31884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7B3CF-6DF7-E6AC-D903-6C322A9045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027586"/>
            <a:ext cx="7249885" cy="111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85838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E45DF-8493-9D24-8B0E-0D1B2F358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7DED3B-38F0-2C08-0E78-FFE84F86E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any Code Quality Levels</a:t>
            </a:r>
            <a:endParaRPr lang="en-NL"/>
          </a:p>
        </p:txBody>
      </p:sp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id="{42F60B33-12D8-6686-5E61-527598D3A628}"/>
              </a:ext>
            </a:extLst>
          </p:cNvPr>
          <p:cNvSpPr/>
          <p:nvPr/>
        </p:nvSpPr>
        <p:spPr>
          <a:xfrm>
            <a:off x="681312" y="4276761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1. Ad hoc measurement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7" name="Flowchart: Alternate Process 6">
            <a:extLst>
              <a:ext uri="{FF2B5EF4-FFF2-40B4-BE49-F238E27FC236}">
                <a16:creationId xmlns:a16="http://schemas.microsoft.com/office/drawing/2014/main" id="{11645CBD-A501-36CA-A5EE-397F17AE2841}"/>
              </a:ext>
            </a:extLst>
          </p:cNvPr>
          <p:cNvSpPr/>
          <p:nvPr/>
        </p:nvSpPr>
        <p:spPr>
          <a:xfrm>
            <a:off x="681313" y="1734534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5. Company standards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8" name="Flowchart: Alternate Process 7">
            <a:extLst>
              <a:ext uri="{FF2B5EF4-FFF2-40B4-BE49-F238E27FC236}">
                <a16:creationId xmlns:a16="http://schemas.microsoft.com/office/drawing/2014/main" id="{3B21ACF8-E1A0-B4C4-3EE3-520E571CE019}"/>
              </a:ext>
            </a:extLst>
          </p:cNvPr>
          <p:cNvSpPr/>
          <p:nvPr/>
        </p:nvSpPr>
        <p:spPr>
          <a:xfrm>
            <a:off x="681311" y="3641205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2. Continuous monitoring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9" name="Flowchart: Alternate Process 8">
            <a:extLst>
              <a:ext uri="{FF2B5EF4-FFF2-40B4-BE49-F238E27FC236}">
                <a16:creationId xmlns:a16="http://schemas.microsoft.com/office/drawing/2014/main" id="{A826FA86-CA73-1EE4-0E44-B7F667FA93D7}"/>
              </a:ext>
            </a:extLst>
          </p:cNvPr>
          <p:cNvSpPr/>
          <p:nvPr/>
        </p:nvSpPr>
        <p:spPr>
          <a:xfrm>
            <a:off x="681313" y="3005648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3. End user involvement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10" name="Flowchart: Alternate Process 9">
            <a:extLst>
              <a:ext uri="{FF2B5EF4-FFF2-40B4-BE49-F238E27FC236}">
                <a16:creationId xmlns:a16="http://schemas.microsoft.com/office/drawing/2014/main" id="{3EFA7933-9DA5-ED13-287A-F02F36C5463F}"/>
              </a:ext>
            </a:extLst>
          </p:cNvPr>
          <p:cNvSpPr/>
          <p:nvPr/>
        </p:nvSpPr>
        <p:spPr>
          <a:xfrm>
            <a:off x="681313" y="2370091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4. Quality gating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11" name="Flowchart: Alternate Process 10">
            <a:extLst>
              <a:ext uri="{FF2B5EF4-FFF2-40B4-BE49-F238E27FC236}">
                <a16:creationId xmlns:a16="http://schemas.microsoft.com/office/drawing/2014/main" id="{8A6D24A7-B59C-1BDF-4900-CA4C4014A653}"/>
              </a:ext>
            </a:extLst>
          </p:cNvPr>
          <p:cNvSpPr/>
          <p:nvPr/>
        </p:nvSpPr>
        <p:spPr>
          <a:xfrm>
            <a:off x="681313" y="1098977"/>
            <a:ext cx="2539407" cy="455767"/>
          </a:xfrm>
          <a:prstGeom prst="flowChartAlternateProcess">
            <a:avLst/>
          </a:prstGeom>
          <a:solidFill>
            <a:srgbClr val="267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/>
                <a:ea typeface="+mn-ea"/>
                <a:cs typeface="+mn-cs"/>
                <a:sym typeface="Arial"/>
              </a:rPr>
              <a:t>6. Full company quality</a:t>
            </a:r>
            <a:endParaRPr kumimoji="0" lang="en-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43524586-F7DD-5DA2-96C6-3833E764D5AC}"/>
              </a:ext>
            </a:extLst>
          </p:cNvPr>
          <p:cNvSpPr/>
          <p:nvPr/>
        </p:nvSpPr>
        <p:spPr>
          <a:xfrm>
            <a:off x="3399077" y="4275604"/>
            <a:ext cx="5579013" cy="451067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lt"/>
              <a:cs typeface="+mn-lt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Having successfully measured code quality at least onc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13" name="Flowchart: Alternate Process 12">
            <a:extLst>
              <a:ext uri="{FF2B5EF4-FFF2-40B4-BE49-F238E27FC236}">
                <a16:creationId xmlns:a16="http://schemas.microsoft.com/office/drawing/2014/main" id="{CD98E65F-61D8-1A0F-9574-8FD5D76BDCDC}"/>
              </a:ext>
            </a:extLst>
          </p:cNvPr>
          <p:cNvSpPr/>
          <p:nvPr/>
        </p:nvSpPr>
        <p:spPr>
          <a:xfrm>
            <a:off x="3402887" y="3641770"/>
            <a:ext cx="5579013" cy="455768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Code quality checks are part of the CI/CD proces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  <p:sp>
        <p:nvSpPr>
          <p:cNvPr id="14" name="Flowchart: Alternate Process 13">
            <a:extLst>
              <a:ext uri="{FF2B5EF4-FFF2-40B4-BE49-F238E27FC236}">
                <a16:creationId xmlns:a16="http://schemas.microsoft.com/office/drawing/2014/main" id="{AA35F721-385A-3D2B-BD84-AC8FA062D74B}"/>
              </a:ext>
            </a:extLst>
          </p:cNvPr>
          <p:cNvSpPr/>
          <p:nvPr/>
        </p:nvSpPr>
        <p:spPr>
          <a:xfrm>
            <a:off x="3389493" y="3023882"/>
            <a:ext cx="5592407" cy="437877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Software engineers look at the results and take actions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id="{B6940514-7978-A5B2-2CFD-65DC3FC4248E}"/>
              </a:ext>
            </a:extLst>
          </p:cNvPr>
          <p:cNvSpPr/>
          <p:nvPr/>
        </p:nvSpPr>
        <p:spPr>
          <a:xfrm>
            <a:off x="3389493" y="2364797"/>
            <a:ext cx="5592407" cy="461061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Deliveries are blocked if quality targets are not met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D7A5522-E29D-1115-B57E-33A259A758BF}"/>
              </a:ext>
            </a:extLst>
          </p:cNvPr>
          <p:cNvSpPr/>
          <p:nvPr/>
        </p:nvSpPr>
        <p:spPr>
          <a:xfrm>
            <a:off x="3402887" y="1734534"/>
            <a:ext cx="5579013" cy="455767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Standards and quality targets are defined at company level</a:t>
            </a:r>
          </a:p>
        </p:txBody>
      </p:sp>
      <p:sp>
        <p:nvSpPr>
          <p:cNvPr id="17" name="Flowchart: Alternate Process 16">
            <a:extLst>
              <a:ext uri="{FF2B5EF4-FFF2-40B4-BE49-F238E27FC236}">
                <a16:creationId xmlns:a16="http://schemas.microsoft.com/office/drawing/2014/main" id="{984B1942-0949-0F98-FB0C-C525C821A60C}"/>
              </a:ext>
            </a:extLst>
          </p:cNvPr>
          <p:cNvSpPr/>
          <p:nvPr/>
        </p:nvSpPr>
        <p:spPr>
          <a:xfrm>
            <a:off x="3402887" y="1094512"/>
            <a:ext cx="5579013" cy="460231"/>
          </a:xfrm>
          <a:prstGeom prst="flowChartAlternateProcess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ea typeface="+mn-lt"/>
                <a:cs typeface="+mn-lt"/>
                <a:sym typeface="Arial"/>
              </a:rPr>
              <a:t>Field defects are direct input to code quality changes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1541E590-DDC5-A163-834C-7210BC04C0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758" y="1118026"/>
            <a:ext cx="419262" cy="419262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EB345085-287C-4896-178F-E89199331A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200" y="1752554"/>
            <a:ext cx="414498" cy="419262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EA9500F2-C8CA-81A4-EC61-9364EFDA98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436" y="2387082"/>
            <a:ext cx="419262" cy="419262"/>
          </a:xfrm>
          <a:prstGeom prst="rect">
            <a:avLst/>
          </a:prstGeom>
        </p:spPr>
      </p:pic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C581B63C-798A-213C-C7B1-3A9E0E3CFA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436" y="3025420"/>
            <a:ext cx="419262" cy="419262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413E2142-AD38-991E-3515-B8BBB24E9E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486" y="3667568"/>
            <a:ext cx="419262" cy="419262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2585EDAB-E857-8A59-63B8-8D233D9843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5106" y="4294474"/>
            <a:ext cx="414498" cy="419262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8C24BCD-9882-057A-C789-2A5841D5663E}"/>
              </a:ext>
            </a:extLst>
          </p:cNvPr>
          <p:cNvCxnSpPr>
            <a:stCxn id="7" idx="0"/>
            <a:endCxn id="11" idx="2"/>
          </p:cNvCxnSpPr>
          <p:nvPr/>
        </p:nvCxnSpPr>
        <p:spPr>
          <a:xfrm flipV="1">
            <a:off x="1951017" y="1554744"/>
            <a:ext cx="0" cy="17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EA3957F-5B89-A445-E748-42F0E0D40121}"/>
              </a:ext>
            </a:extLst>
          </p:cNvPr>
          <p:cNvCxnSpPr>
            <a:stCxn id="10" idx="0"/>
            <a:endCxn id="7" idx="2"/>
          </p:cNvCxnSpPr>
          <p:nvPr/>
        </p:nvCxnSpPr>
        <p:spPr>
          <a:xfrm flipV="1">
            <a:off x="1951017" y="2190301"/>
            <a:ext cx="0" cy="17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9F326AE-296F-1ED9-A2C0-70706A662505}"/>
              </a:ext>
            </a:extLst>
          </p:cNvPr>
          <p:cNvCxnSpPr>
            <a:stCxn id="9" idx="0"/>
            <a:endCxn id="10" idx="2"/>
          </p:cNvCxnSpPr>
          <p:nvPr/>
        </p:nvCxnSpPr>
        <p:spPr>
          <a:xfrm flipV="1">
            <a:off x="1951017" y="2825858"/>
            <a:ext cx="0" cy="17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0CBAA05-7880-18F5-2A9D-1BEA48CA0EA4}"/>
              </a:ext>
            </a:extLst>
          </p:cNvPr>
          <p:cNvCxnSpPr>
            <a:stCxn id="8" idx="0"/>
            <a:endCxn id="9" idx="2"/>
          </p:cNvCxnSpPr>
          <p:nvPr/>
        </p:nvCxnSpPr>
        <p:spPr>
          <a:xfrm flipV="1">
            <a:off x="1951015" y="3461415"/>
            <a:ext cx="2" cy="17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2B8B37C-BDA1-F758-E23A-8443223C9F70}"/>
              </a:ext>
            </a:extLst>
          </p:cNvPr>
          <p:cNvCxnSpPr>
            <a:stCxn id="6" idx="0"/>
            <a:endCxn id="8" idx="2"/>
          </p:cNvCxnSpPr>
          <p:nvPr/>
        </p:nvCxnSpPr>
        <p:spPr>
          <a:xfrm flipH="1" flipV="1">
            <a:off x="1951015" y="4096972"/>
            <a:ext cx="1" cy="179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531495-CE6E-2C75-88CB-79EE89EFEA62}"/>
              </a:ext>
            </a:extLst>
          </p:cNvPr>
          <p:cNvCxnSpPr/>
          <p:nvPr/>
        </p:nvCxnSpPr>
        <p:spPr>
          <a:xfrm>
            <a:off x="165106" y="928150"/>
            <a:ext cx="6874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B4C421A-DE7F-E6D2-1DBA-A182B67C30EF}"/>
              </a:ext>
            </a:extLst>
          </p:cNvPr>
          <p:cNvSpPr/>
          <p:nvPr/>
        </p:nvSpPr>
        <p:spPr>
          <a:xfrm>
            <a:off x="75627" y="2255062"/>
            <a:ext cx="8990703" cy="698138"/>
          </a:xfrm>
          <a:custGeom>
            <a:avLst/>
            <a:gdLst>
              <a:gd name="connsiteX0" fmla="*/ 0 w 8990703"/>
              <a:gd name="connsiteY0" fmla="*/ 0 h 698138"/>
              <a:gd name="connsiteX1" fmla="*/ 599380 w 8990703"/>
              <a:gd name="connsiteY1" fmla="*/ 0 h 698138"/>
              <a:gd name="connsiteX2" fmla="*/ 1018946 w 8990703"/>
              <a:gd name="connsiteY2" fmla="*/ 0 h 698138"/>
              <a:gd name="connsiteX3" fmla="*/ 1438512 w 8990703"/>
              <a:gd name="connsiteY3" fmla="*/ 0 h 698138"/>
              <a:gd name="connsiteX4" fmla="*/ 1947986 w 8990703"/>
              <a:gd name="connsiteY4" fmla="*/ 0 h 698138"/>
              <a:gd name="connsiteX5" fmla="*/ 2457459 w 8990703"/>
              <a:gd name="connsiteY5" fmla="*/ 0 h 698138"/>
              <a:gd name="connsiteX6" fmla="*/ 3236653 w 8990703"/>
              <a:gd name="connsiteY6" fmla="*/ 0 h 698138"/>
              <a:gd name="connsiteX7" fmla="*/ 3656219 w 8990703"/>
              <a:gd name="connsiteY7" fmla="*/ 0 h 698138"/>
              <a:gd name="connsiteX8" fmla="*/ 4165692 w 8990703"/>
              <a:gd name="connsiteY8" fmla="*/ 0 h 698138"/>
              <a:gd name="connsiteX9" fmla="*/ 4854980 w 8990703"/>
              <a:gd name="connsiteY9" fmla="*/ 0 h 698138"/>
              <a:gd name="connsiteX10" fmla="*/ 5364453 w 8990703"/>
              <a:gd name="connsiteY10" fmla="*/ 0 h 698138"/>
              <a:gd name="connsiteX11" fmla="*/ 5963833 w 8990703"/>
              <a:gd name="connsiteY11" fmla="*/ 0 h 698138"/>
              <a:gd name="connsiteX12" fmla="*/ 6743027 w 8990703"/>
              <a:gd name="connsiteY12" fmla="*/ 0 h 698138"/>
              <a:gd name="connsiteX13" fmla="*/ 7522222 w 8990703"/>
              <a:gd name="connsiteY13" fmla="*/ 0 h 698138"/>
              <a:gd name="connsiteX14" fmla="*/ 8121602 w 8990703"/>
              <a:gd name="connsiteY14" fmla="*/ 0 h 698138"/>
              <a:gd name="connsiteX15" fmla="*/ 8990703 w 8990703"/>
              <a:gd name="connsiteY15" fmla="*/ 0 h 698138"/>
              <a:gd name="connsiteX16" fmla="*/ 8990703 w 8990703"/>
              <a:gd name="connsiteY16" fmla="*/ 363032 h 698138"/>
              <a:gd name="connsiteX17" fmla="*/ 8990703 w 8990703"/>
              <a:gd name="connsiteY17" fmla="*/ 698138 h 698138"/>
              <a:gd name="connsiteX18" fmla="*/ 8481230 w 8990703"/>
              <a:gd name="connsiteY18" fmla="*/ 698138 h 698138"/>
              <a:gd name="connsiteX19" fmla="*/ 7791943 w 8990703"/>
              <a:gd name="connsiteY19" fmla="*/ 698138 h 698138"/>
              <a:gd name="connsiteX20" fmla="*/ 7282469 w 8990703"/>
              <a:gd name="connsiteY20" fmla="*/ 698138 h 698138"/>
              <a:gd name="connsiteX21" fmla="*/ 6862903 w 8990703"/>
              <a:gd name="connsiteY21" fmla="*/ 698138 h 698138"/>
              <a:gd name="connsiteX22" fmla="*/ 6173616 w 8990703"/>
              <a:gd name="connsiteY22" fmla="*/ 698138 h 698138"/>
              <a:gd name="connsiteX23" fmla="*/ 5574236 w 8990703"/>
              <a:gd name="connsiteY23" fmla="*/ 698138 h 698138"/>
              <a:gd name="connsiteX24" fmla="*/ 4884949 w 8990703"/>
              <a:gd name="connsiteY24" fmla="*/ 698138 h 698138"/>
              <a:gd name="connsiteX25" fmla="*/ 4105754 w 8990703"/>
              <a:gd name="connsiteY25" fmla="*/ 698138 h 698138"/>
              <a:gd name="connsiteX26" fmla="*/ 3326560 w 8990703"/>
              <a:gd name="connsiteY26" fmla="*/ 698138 h 698138"/>
              <a:gd name="connsiteX27" fmla="*/ 2547366 w 8990703"/>
              <a:gd name="connsiteY27" fmla="*/ 698138 h 698138"/>
              <a:gd name="connsiteX28" fmla="*/ 2037893 w 8990703"/>
              <a:gd name="connsiteY28" fmla="*/ 698138 h 698138"/>
              <a:gd name="connsiteX29" fmla="*/ 1258698 w 8990703"/>
              <a:gd name="connsiteY29" fmla="*/ 698138 h 698138"/>
              <a:gd name="connsiteX30" fmla="*/ 929039 w 8990703"/>
              <a:gd name="connsiteY30" fmla="*/ 698138 h 698138"/>
              <a:gd name="connsiteX31" fmla="*/ 0 w 8990703"/>
              <a:gd name="connsiteY31" fmla="*/ 698138 h 698138"/>
              <a:gd name="connsiteX32" fmla="*/ 0 w 8990703"/>
              <a:gd name="connsiteY32" fmla="*/ 335106 h 698138"/>
              <a:gd name="connsiteX33" fmla="*/ 0 w 8990703"/>
              <a:gd name="connsiteY33" fmla="*/ 0 h 69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990703" h="698138" extrusionOk="0">
                <a:moveTo>
                  <a:pt x="0" y="0"/>
                </a:moveTo>
                <a:cubicBezTo>
                  <a:pt x="217621" y="-53081"/>
                  <a:pt x="459991" y="26567"/>
                  <a:pt x="599380" y="0"/>
                </a:cubicBezTo>
                <a:cubicBezTo>
                  <a:pt x="738769" y="-26567"/>
                  <a:pt x="907826" y="23756"/>
                  <a:pt x="1018946" y="0"/>
                </a:cubicBezTo>
                <a:cubicBezTo>
                  <a:pt x="1130066" y="-23756"/>
                  <a:pt x="1244191" y="34818"/>
                  <a:pt x="1438512" y="0"/>
                </a:cubicBezTo>
                <a:cubicBezTo>
                  <a:pt x="1632833" y="-34818"/>
                  <a:pt x="1736680" y="7412"/>
                  <a:pt x="1947986" y="0"/>
                </a:cubicBezTo>
                <a:cubicBezTo>
                  <a:pt x="2159292" y="-7412"/>
                  <a:pt x="2252054" y="6121"/>
                  <a:pt x="2457459" y="0"/>
                </a:cubicBezTo>
                <a:cubicBezTo>
                  <a:pt x="2662864" y="-6121"/>
                  <a:pt x="3027152" y="28051"/>
                  <a:pt x="3236653" y="0"/>
                </a:cubicBezTo>
                <a:cubicBezTo>
                  <a:pt x="3446154" y="-28051"/>
                  <a:pt x="3459278" y="45548"/>
                  <a:pt x="3656219" y="0"/>
                </a:cubicBezTo>
                <a:cubicBezTo>
                  <a:pt x="3853160" y="-45548"/>
                  <a:pt x="4063037" y="42900"/>
                  <a:pt x="4165692" y="0"/>
                </a:cubicBezTo>
                <a:cubicBezTo>
                  <a:pt x="4268347" y="-42900"/>
                  <a:pt x="4591452" y="8226"/>
                  <a:pt x="4854980" y="0"/>
                </a:cubicBezTo>
                <a:cubicBezTo>
                  <a:pt x="5118508" y="-8226"/>
                  <a:pt x="5239603" y="10868"/>
                  <a:pt x="5364453" y="0"/>
                </a:cubicBezTo>
                <a:cubicBezTo>
                  <a:pt x="5489303" y="-10868"/>
                  <a:pt x="5780458" y="69425"/>
                  <a:pt x="5963833" y="0"/>
                </a:cubicBezTo>
                <a:cubicBezTo>
                  <a:pt x="6147208" y="-69425"/>
                  <a:pt x="6486213" y="17958"/>
                  <a:pt x="6743027" y="0"/>
                </a:cubicBezTo>
                <a:cubicBezTo>
                  <a:pt x="6999841" y="-17958"/>
                  <a:pt x="7135155" y="37317"/>
                  <a:pt x="7522222" y="0"/>
                </a:cubicBezTo>
                <a:cubicBezTo>
                  <a:pt x="7909289" y="-37317"/>
                  <a:pt x="7942355" y="39338"/>
                  <a:pt x="8121602" y="0"/>
                </a:cubicBezTo>
                <a:cubicBezTo>
                  <a:pt x="8300849" y="-39338"/>
                  <a:pt x="8631979" y="99508"/>
                  <a:pt x="8990703" y="0"/>
                </a:cubicBezTo>
                <a:cubicBezTo>
                  <a:pt x="9005293" y="86131"/>
                  <a:pt x="8972802" y="265958"/>
                  <a:pt x="8990703" y="363032"/>
                </a:cubicBezTo>
                <a:cubicBezTo>
                  <a:pt x="9008604" y="460106"/>
                  <a:pt x="8984137" y="531197"/>
                  <a:pt x="8990703" y="698138"/>
                </a:cubicBezTo>
                <a:cubicBezTo>
                  <a:pt x="8804334" y="698292"/>
                  <a:pt x="8591657" y="665103"/>
                  <a:pt x="8481230" y="698138"/>
                </a:cubicBezTo>
                <a:cubicBezTo>
                  <a:pt x="8370803" y="731173"/>
                  <a:pt x="8057229" y="674889"/>
                  <a:pt x="7791943" y="698138"/>
                </a:cubicBezTo>
                <a:cubicBezTo>
                  <a:pt x="7526657" y="721387"/>
                  <a:pt x="7396455" y="693763"/>
                  <a:pt x="7282469" y="698138"/>
                </a:cubicBezTo>
                <a:cubicBezTo>
                  <a:pt x="7168483" y="702513"/>
                  <a:pt x="6975387" y="696162"/>
                  <a:pt x="6862903" y="698138"/>
                </a:cubicBezTo>
                <a:cubicBezTo>
                  <a:pt x="6750419" y="700114"/>
                  <a:pt x="6319615" y="662745"/>
                  <a:pt x="6173616" y="698138"/>
                </a:cubicBezTo>
                <a:cubicBezTo>
                  <a:pt x="6027617" y="733531"/>
                  <a:pt x="5774062" y="637808"/>
                  <a:pt x="5574236" y="698138"/>
                </a:cubicBezTo>
                <a:cubicBezTo>
                  <a:pt x="5374410" y="758468"/>
                  <a:pt x="5188657" y="646821"/>
                  <a:pt x="4884949" y="698138"/>
                </a:cubicBezTo>
                <a:cubicBezTo>
                  <a:pt x="4581241" y="749455"/>
                  <a:pt x="4487118" y="653114"/>
                  <a:pt x="4105754" y="698138"/>
                </a:cubicBezTo>
                <a:cubicBezTo>
                  <a:pt x="3724391" y="743162"/>
                  <a:pt x="3546198" y="669639"/>
                  <a:pt x="3326560" y="698138"/>
                </a:cubicBezTo>
                <a:cubicBezTo>
                  <a:pt x="3106922" y="726637"/>
                  <a:pt x="2871066" y="676423"/>
                  <a:pt x="2547366" y="698138"/>
                </a:cubicBezTo>
                <a:cubicBezTo>
                  <a:pt x="2223666" y="719853"/>
                  <a:pt x="2190908" y="667962"/>
                  <a:pt x="2037893" y="698138"/>
                </a:cubicBezTo>
                <a:cubicBezTo>
                  <a:pt x="1884878" y="728314"/>
                  <a:pt x="1503453" y="637521"/>
                  <a:pt x="1258698" y="698138"/>
                </a:cubicBezTo>
                <a:cubicBezTo>
                  <a:pt x="1013943" y="758755"/>
                  <a:pt x="1060664" y="689702"/>
                  <a:pt x="929039" y="698138"/>
                </a:cubicBezTo>
                <a:cubicBezTo>
                  <a:pt x="797414" y="706574"/>
                  <a:pt x="451651" y="684178"/>
                  <a:pt x="0" y="698138"/>
                </a:cubicBezTo>
                <a:cubicBezTo>
                  <a:pt x="-1622" y="600522"/>
                  <a:pt x="13181" y="433968"/>
                  <a:pt x="0" y="335106"/>
                </a:cubicBezTo>
                <a:cubicBezTo>
                  <a:pt x="-13181" y="236244"/>
                  <a:pt x="9642" y="166769"/>
                  <a:pt x="0" y="0"/>
                </a:cubicBezTo>
                <a:close/>
              </a:path>
            </a:pathLst>
          </a:custGeom>
          <a:noFill/>
          <a:ln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176730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603972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BD24CC-A9CB-460E-AF28-7B29544E4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Gates</a:t>
            </a:r>
            <a:endParaRPr lang="en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796D35-35A1-8EF2-DC8C-36A8B798A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8416" y="937174"/>
            <a:ext cx="6589296" cy="389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1412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655AA6-43AA-E29A-70F8-AB6622FD7D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68E7A9-8A47-1AB5-AC32-E6B0969FC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</a:t>
            </a:r>
            <a:r>
              <a:rPr lang="en-US" dirty="0" err="1"/>
              <a:t>uality</a:t>
            </a:r>
            <a:r>
              <a:rPr lang="en-US" dirty="0"/>
              <a:t> Gates</a:t>
            </a:r>
            <a:endParaRPr lang="en-NL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D5E807-CD71-792E-5491-ACA8D7A596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634" y="856866"/>
            <a:ext cx="8683362" cy="385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3445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A49272-EE95-CEA7-C2F6-05406A8E8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375EE6-7994-6840-F796-365D83192E02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427677" y="936892"/>
            <a:ext cx="5877548" cy="310371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Axiom 3: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The best quality target is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"no </a:t>
            </a:r>
            <a:r>
              <a:rPr lang="en-GB" sz="3200" b="1" dirty="0">
                <a:solidFill>
                  <a:srgbClr val="007BC1"/>
                </a:solidFill>
              </a:rPr>
              <a:t>new</a:t>
            </a:r>
            <a:r>
              <a:rPr lang="en-GB" sz="3200" dirty="0">
                <a:solidFill>
                  <a:srgbClr val="007BC1"/>
                </a:solidFill>
              </a:rPr>
              <a:t> coding standard violations of severity levels 1, 2 and 3"</a:t>
            </a:r>
            <a:endParaRPr lang="en-NL" sz="3200" dirty="0">
              <a:solidFill>
                <a:srgbClr val="007BC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91DC9FA-533E-FAEC-1B11-086DD18E4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xiom 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42976654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5F6D35-D920-03FB-1C3E-FDE355DE3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FC2A41-1909-D9EF-0D0B-E89793EC7499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427677" y="936892"/>
            <a:ext cx="5877548" cy="310371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Axiom 4: </a:t>
            </a:r>
          </a:p>
          <a:p>
            <a:pPr algn="ctr">
              <a:lnSpc>
                <a:spcPct val="150000"/>
              </a:lnSpc>
            </a:pPr>
            <a:r>
              <a:rPr lang="en-GB" sz="2800" dirty="0">
                <a:solidFill>
                  <a:srgbClr val="007BC1"/>
                </a:solidFill>
              </a:rPr>
              <a:t>Only use coding standard rules for quality gates that are fast to check, easy to fix and have no false positives</a:t>
            </a:r>
            <a:endParaRPr lang="en-NL" sz="2800" dirty="0">
              <a:solidFill>
                <a:srgbClr val="007BC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CEA85D8-0DD6-2299-EA2B-0F8B224F1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xiom 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204261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60864-F536-5B39-92BB-B2626B1BDC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DFB237-162F-1B64-1CBB-803D5A913248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427677" y="936892"/>
            <a:ext cx="5877548" cy="3103715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Axiom 5: </a:t>
            </a:r>
          </a:p>
          <a:p>
            <a:pPr algn="ctr">
              <a:lnSpc>
                <a:spcPct val="150000"/>
              </a:lnSpc>
            </a:pPr>
            <a:r>
              <a:rPr lang="en-GB" sz="3200" dirty="0">
                <a:solidFill>
                  <a:srgbClr val="007BC1"/>
                </a:solidFill>
              </a:rPr>
              <a:t>Have a fast waiver process in place, both technical and organizational</a:t>
            </a:r>
            <a:endParaRPr lang="en-NL" sz="3200" dirty="0">
              <a:solidFill>
                <a:srgbClr val="007BC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52F0E3-0A0B-A211-78A4-D6F4E290E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xiom 5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50476958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7EC7E9-0365-2AC8-130D-324C24AE0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F20D40-A95E-0E86-3A60-B11F61E474E3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7906466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dirty="0">
                <a:solidFill>
                  <a:srgbClr val="007BC1"/>
                </a:solidFill>
                <a:latin typeface="+mj-lt"/>
              </a:rPr>
              <a:t>When introducing new coding standards in quality gating:</a:t>
            </a:r>
          </a:p>
          <a:p>
            <a:pPr>
              <a:lnSpc>
                <a:spcPct val="150000"/>
              </a:lnSpc>
            </a:pPr>
            <a:endParaRPr lang="en-GB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B5AE84-14C0-6613-3602-7A53B8825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Quality gate coding standards</a:t>
            </a:r>
            <a:endParaRPr lang="en-NL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9B37F2-9E08-6A25-8B24-C7DACC620AE1}"/>
              </a:ext>
            </a:extLst>
          </p:cNvPr>
          <p:cNvSpPr txBox="1">
            <a:spLocks/>
          </p:cNvSpPr>
          <p:nvPr/>
        </p:nvSpPr>
        <p:spPr>
          <a:xfrm>
            <a:off x="457172" y="1734671"/>
            <a:ext cx="8228700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Be careful, know your responsibility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Test thoroughly in staging environment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Evaluate and be critical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Have a soak time/grace period in place</a:t>
            </a:r>
          </a:p>
        </p:txBody>
      </p:sp>
    </p:spTree>
    <p:extLst>
      <p:ext uri="{BB962C8B-B14F-4D97-AF65-F5344CB8AC3E}">
        <p14:creationId xmlns:p14="http://schemas.microsoft.com/office/powerpoint/2010/main" val="25768276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>
            <a:extLst>
              <a:ext uri="{FF2B5EF4-FFF2-40B4-BE49-F238E27FC236}">
                <a16:creationId xmlns:a16="http://schemas.microsoft.com/office/drawing/2014/main" id="{F466A906-2869-BB36-138E-D45F62E9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3484708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186C3A-548E-AD87-3029-9641235307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495301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6F29EFB-8763-6735-D985-38192AC43EAD}"/>
              </a:ext>
            </a:extLst>
          </p:cNvPr>
          <p:cNvSpPr txBox="1"/>
          <p:nvPr/>
        </p:nvSpPr>
        <p:spPr>
          <a:xfrm>
            <a:off x="3169270" y="96520"/>
            <a:ext cx="5916857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Software developer</a:t>
            </a: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Promexx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(12 years)</a:t>
            </a:r>
          </a:p>
          <a:p>
            <a:pPr marL="900113" lvl="2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Bruker / Varian, Scion (Gas Analysis)</a:t>
            </a:r>
          </a:p>
          <a:p>
            <a:pPr marL="900113" lvl="2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 err="1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+mn-cs"/>
              </a:rPr>
              <a:t>Assembléon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/ K&amp;S  (Pick and Place machine)</a:t>
            </a:r>
          </a:p>
          <a:p>
            <a:pPr marL="900113" lvl="2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FEI / </a:t>
            </a: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hermoFisher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 (Electron Microscopes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C++Coach / Architect</a:t>
            </a: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Kind / Vimec / </a:t>
            </a: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iama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/ Kestrel  (5+ years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open-source contributions:</a:t>
            </a: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CMake</a:t>
            </a: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Copperspice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</a:t>
            </a:r>
          </a:p>
          <a:p>
            <a:pPr marL="685800" lvl="2" defTabSz="685800">
              <a:buClrTx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https://www.copperspice.com/</a:t>
            </a: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DebugView</a:t>
            </a: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++    		https://github.com/CobaltFusion/DebugViewPP</a:t>
            </a: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WG21/SG14 (Study group for low latency)</a:t>
            </a:r>
          </a:p>
          <a:p>
            <a:pPr defTabSz="685800">
              <a:buClrTx/>
            </a:pP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black">
                    <a:lumMod val="85000"/>
                    <a:lumOff val="15000"/>
                  </a:prst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n the process of joining WG21, the ISO C++ Committee.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black">
                    <a:lumMod val="85000"/>
                    <a:lumOff val="15000"/>
                  </a:prst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 was a guest at the last </a:t>
            </a:r>
            <a:r>
              <a:rPr lang="en-US" sz="1500" b="1" kern="1200" dirty="0" err="1">
                <a:solidFill>
                  <a:srgbClr val="1F1F1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rocław</a:t>
            </a:r>
            <a:r>
              <a:rPr lang="en-US" sz="1500" b="1" kern="1200" dirty="0">
                <a:solidFill>
                  <a:srgbClr val="1F1F1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(</a:t>
            </a:r>
            <a:r>
              <a:rPr lang="en-US" sz="1500" b="1" kern="1200" dirty="0" err="1">
                <a:solidFill>
                  <a:srgbClr val="1F1F1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rot-swav</a:t>
            </a:r>
            <a:r>
              <a:rPr lang="en-US" sz="1500" b="1" kern="1200" dirty="0">
                <a:solidFill>
                  <a:srgbClr val="1F1F1F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) meeting.</a:t>
            </a:r>
            <a:endParaRPr lang="en-US" sz="1500" b="1" kern="1200" dirty="0">
              <a:solidFill>
                <a:prstClr val="black">
                  <a:lumMod val="85000"/>
                  <a:lumOff val="15000"/>
                </a:prst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500" b="1" kern="1200" dirty="0">
                <a:solidFill>
                  <a:prstClr val="black">
                    <a:lumMod val="85000"/>
                    <a:lumOff val="15000"/>
                  </a:prst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td::guarded&lt;T&gt; </a:t>
            </a:r>
            <a:r>
              <a:rPr lang="en-US" sz="1500" b="1" kern="1200" dirty="0">
                <a:solidFill>
                  <a:prstClr val="black">
                    <a:lumMod val="85000"/>
                    <a:lumOff val="15000"/>
                  </a:prst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socpp.org/files/papers/P3497R0.html</a:t>
            </a:r>
            <a:endParaRPr lang="en-US" sz="1500" b="1" kern="1200" dirty="0">
              <a:solidFill>
                <a:prstClr val="black">
                  <a:lumMod val="85000"/>
                  <a:lumOff val="15000"/>
                </a:prst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557213" lvl="1" indent="-214313" defTabSz="685800">
              <a:buClrTx/>
              <a:buFont typeface="Arial" panose="020B0604020202020204" pitchFamily="34" charset="0"/>
              <a:buChar char="•"/>
            </a:pPr>
            <a:endParaRPr lang="en-US" sz="1500" b="1" kern="1200" dirty="0">
              <a:solidFill>
                <a:prstClr val="black">
                  <a:lumMod val="85000"/>
                  <a:lumOff val="15000"/>
                </a:prstClr>
              </a:solidFill>
              <a:latin typeface="Roboto Condensed" panose="020F0502020204030204" pitchFamily="2" charset="0"/>
              <a:ea typeface="+mn-ea"/>
              <a:cs typeface="+mn-cs"/>
            </a:endParaRPr>
          </a:p>
          <a:p>
            <a:pPr defTabSz="685800">
              <a:buClrTx/>
            </a:pP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BB224D-3202-D84D-A663-11FAEA2355B2}"/>
              </a:ext>
            </a:extLst>
          </p:cNvPr>
          <p:cNvSpPr txBox="1"/>
          <p:nvPr/>
        </p:nvSpPr>
        <p:spPr>
          <a:xfrm>
            <a:off x="48553" y="2324054"/>
            <a:ext cx="1685077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35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personal website:</a:t>
            </a:r>
          </a:p>
          <a:p>
            <a:pPr defTabSz="685800">
              <a:buClrTx/>
            </a:pPr>
            <a:endParaRPr lang="en-US" sz="1350" b="1" kern="1200" dirty="0">
              <a:solidFill>
                <a:prstClr val="black"/>
              </a:solidFill>
              <a:latin typeface="Avenir Next LT Pro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1350" b="1" kern="1200" dirty="0">
                <a:solidFill>
                  <a:prstClr val="black"/>
                </a:solidFill>
                <a:latin typeface="Avenir Next LT Pro"/>
                <a:ea typeface="+mn-ea"/>
                <a:cs typeface="+mn-cs"/>
              </a:rPr>
              <a:t>nullptr.nl</a:t>
            </a:r>
          </a:p>
        </p:txBody>
      </p:sp>
    </p:spTree>
    <p:extLst>
      <p:ext uri="{BB962C8B-B14F-4D97-AF65-F5344CB8AC3E}">
        <p14:creationId xmlns:p14="http://schemas.microsoft.com/office/powerpoint/2010/main" val="7077891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7B70E-BA08-1E0F-EB01-ED14A6BBC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0B2079-AF2F-646E-219D-B901953015CC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481263" y="1019892"/>
            <a:ext cx="7906466" cy="31037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dirty="0">
                <a:solidFill>
                  <a:srgbClr val="007BC1"/>
                </a:solidFill>
                <a:latin typeface="+mj-lt"/>
              </a:rPr>
              <a:t>Implementing coding standards:</a:t>
            </a:r>
          </a:p>
          <a:p>
            <a:pPr>
              <a:lnSpc>
                <a:spcPct val="150000"/>
              </a:lnSpc>
            </a:pPr>
            <a:endParaRPr lang="en-GB" sz="32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0B2937A-9CEB-3F24-532B-D47167ABF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onclusions</a:t>
            </a:r>
            <a:endParaRPr lang="en-NL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F20E247-72A9-C4A5-C7C5-F339381819CF}"/>
              </a:ext>
            </a:extLst>
          </p:cNvPr>
          <p:cNvSpPr txBox="1">
            <a:spLocks/>
          </p:cNvSpPr>
          <p:nvPr/>
        </p:nvSpPr>
        <p:spPr>
          <a:xfrm>
            <a:off x="457172" y="1734671"/>
            <a:ext cx="8228700" cy="279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Work Sans" panose="00000500000000000000" pitchFamily="2" charset="0"/>
                <a:ea typeface="Work Sans" panose="00000500000000000000" pitchFamily="2" charset="0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To do it right is not easy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But if you manage to do it right …</a:t>
            </a:r>
          </a:p>
          <a:p>
            <a:pPr marL="514350" marR="0" lvl="0" indent="-285750" algn="l" defTabSz="91440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… then </a:t>
            </a: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wowowow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/>
                <a:cs typeface="Arial"/>
                <a:sym typeface="Arial"/>
              </a:rPr>
              <a:t> you can celebrat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0776F5-3A68-D400-9CF5-1A04B14C3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293" y="1784685"/>
            <a:ext cx="3937444" cy="297781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FEB9C14-2B30-EBED-98C0-375989A8897A}"/>
              </a:ext>
            </a:extLst>
          </p:cNvPr>
          <p:cNvSpPr/>
          <p:nvPr/>
        </p:nvSpPr>
        <p:spPr>
          <a:xfrm>
            <a:off x="4826382" y="2219154"/>
            <a:ext cx="127218" cy="2455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996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28E9B-69BF-9599-F512-D477B75F6B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>
            <a:extLst>
              <a:ext uri="{FF2B5EF4-FFF2-40B4-BE49-F238E27FC236}">
                <a16:creationId xmlns:a16="http://schemas.microsoft.com/office/drawing/2014/main" id="{45824624-33B7-986A-44BD-C1E4EF9D8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3484708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CEB51B6-FAD7-6712-1BCD-58C62E0F79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495301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39AFB1A-EF6A-E933-0CFB-98308E76D742}"/>
              </a:ext>
            </a:extLst>
          </p:cNvPr>
          <p:cNvSpPr txBox="1"/>
          <p:nvPr/>
        </p:nvSpPr>
        <p:spPr>
          <a:xfrm>
            <a:off x="3368748" y="212417"/>
            <a:ext cx="454575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nl-NL" sz="1500" b="1" kern="1200" dirty="0">
                <a:solidFill>
                  <a:srgbClr val="333333"/>
                </a:solidFill>
                <a:latin typeface="Roboto Condensed" panose="020F0502020204030204" pitchFamily="2" charset="0"/>
                <a:ea typeface="+mn-ea"/>
                <a:cs typeface="+mn-cs"/>
              </a:rPr>
              <a:t>The Committee: WG21 (Working Group 21)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endParaRPr lang="en-US" sz="15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F7BB3D-975D-FFBF-0F8B-593ABC234A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747" y="925526"/>
            <a:ext cx="5462207" cy="400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tandard C++">
            <a:extLst>
              <a:ext uri="{FF2B5EF4-FFF2-40B4-BE49-F238E27FC236}">
                <a16:creationId xmlns:a16="http://schemas.microsoft.com/office/drawing/2014/main" id="{53BFC178-82D4-967A-BBA9-217D932CD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54345"/>
            <a:ext cx="2473522" cy="2782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D7845827-BEAF-400B-0A05-FED0376007BC}"/>
              </a:ext>
            </a:extLst>
          </p:cNvPr>
          <p:cNvGrpSpPr/>
          <p:nvPr/>
        </p:nvGrpSpPr>
        <p:grpSpPr>
          <a:xfrm>
            <a:off x="7286098" y="3270702"/>
            <a:ext cx="424440" cy="278640"/>
            <a:chOff x="9714797" y="4360936"/>
            <a:chExt cx="565920" cy="3715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AB461642-C8FC-6119-283E-ABA6C8EBB1E2}"/>
                    </a:ext>
                  </a:extLst>
                </p14:cNvPr>
                <p14:cNvContentPartPr/>
                <p14:nvPr/>
              </p14:nvContentPartPr>
              <p14:xfrm>
                <a:off x="9714797" y="4515016"/>
                <a:ext cx="23400" cy="19332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AB461642-C8FC-6119-283E-ABA6C8EBB1E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697157" y="4497376"/>
                  <a:ext cx="5904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5DC8487A-AA67-DBE3-8AD9-786F05753B45}"/>
                    </a:ext>
                  </a:extLst>
                </p14:cNvPr>
                <p14:cNvContentPartPr/>
                <p14:nvPr/>
              </p14:nvContentPartPr>
              <p14:xfrm>
                <a:off x="9756557" y="4703296"/>
                <a:ext cx="168840" cy="2916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5DC8487A-AA67-DBE3-8AD9-786F05753B45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738557" y="4685656"/>
                  <a:ext cx="20448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E127F804-59BE-3B52-B225-7E8DDB095F1E}"/>
                    </a:ext>
                  </a:extLst>
                </p14:cNvPr>
                <p14:cNvContentPartPr/>
                <p14:nvPr/>
              </p14:nvContentPartPr>
              <p14:xfrm>
                <a:off x="9737477" y="4360936"/>
                <a:ext cx="543240" cy="34344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E127F804-59BE-3B52-B225-7E8DDB095F1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9719837" y="4343296"/>
                  <a:ext cx="578880" cy="3790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420398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7442D3-20EA-8E4C-C419-5FE72BF36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Placeholder 33" descr="Aerial view of a neon highway intersection">
            <a:extLst>
              <a:ext uri="{FF2B5EF4-FFF2-40B4-BE49-F238E27FC236}">
                <a16:creationId xmlns:a16="http://schemas.microsoft.com/office/drawing/2014/main" id="{03BC5E62-A7CF-56D6-5BA5-BE255DA0B76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4936" r="24936"/>
          <a:stretch/>
        </p:blipFill>
        <p:spPr>
          <a:xfrm rot="10800000">
            <a:off x="1" y="570991"/>
            <a:ext cx="3057089" cy="4572509"/>
          </a:xfr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CBDBC359-748F-37C3-28C8-11DD2196BE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3484708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08AABD-7194-1B62-954E-F97A825E33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495301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A895BC1-1EB5-2902-CEAA-7DD125EF1587}"/>
              </a:ext>
            </a:extLst>
          </p:cNvPr>
          <p:cNvSpPr txBox="1"/>
          <p:nvPr/>
        </p:nvSpPr>
        <p:spPr>
          <a:xfrm>
            <a:off x="3274666" y="274967"/>
            <a:ext cx="5644195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Many C++ Developers are passionate about making code better ... but disagree about what “good code” looks like.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Various reasons for disagreement:</a:t>
            </a:r>
          </a:p>
          <a:p>
            <a:pPr defTabSz="685800">
              <a:buClrTx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language complexity, flexibility</a:t>
            </a: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Support for different paradigms, </a:t>
            </a:r>
            <a:b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</a:b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(functional, OO, procedural)</a:t>
            </a: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he last decade: many new features    (constexpr, ranges, coroutines, concepts, etc. )</a:t>
            </a:r>
          </a:p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4976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7E71D-CD24-7EB7-B000-54078371E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Placeholder 33" descr="Aerial view of a neon highway intersection">
            <a:extLst>
              <a:ext uri="{FF2B5EF4-FFF2-40B4-BE49-F238E27FC236}">
                <a16:creationId xmlns:a16="http://schemas.microsoft.com/office/drawing/2014/main" id="{0BB73B35-1D1F-648A-596A-F31266D4F35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4936" r="24936"/>
          <a:stretch/>
        </p:blipFill>
        <p:spPr>
          <a:xfrm rot="10800000">
            <a:off x="1" y="570991"/>
            <a:ext cx="3057089" cy="4572509"/>
          </a:xfr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B04B445E-88A8-EE91-289B-4B43E9CE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27512" y="3484708"/>
            <a:ext cx="205740" cy="205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 dirty="0">
              <a:solidFill>
                <a:prstClr val="white"/>
              </a:solidFill>
              <a:latin typeface="Avenir Next LT Pro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69ADEE-5D88-3659-2967-FC2A141880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73478" y="495301"/>
            <a:ext cx="3120716" cy="3111866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9B41B89-CF41-37F8-28BB-E76C9E02DC53}"/>
              </a:ext>
            </a:extLst>
          </p:cNvPr>
          <p:cNvSpPr txBox="1"/>
          <p:nvPr/>
        </p:nvSpPr>
        <p:spPr>
          <a:xfrm>
            <a:off x="3274666" y="274967"/>
            <a:ext cx="5644195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imeless discussions </a:t>
            </a:r>
          </a:p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(which I will not talk about today)</a:t>
            </a:r>
          </a:p>
          <a:p>
            <a:pPr defTabSz="685800">
              <a:buClrTx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tabs vs spaces</a:t>
            </a: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whitespace</a:t>
            </a: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&gt; get rid of it, use a formatter like clang-format,  </a:t>
            </a:r>
            <a:r>
              <a:rPr lang="en-US" sz="21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AStyle</a:t>
            </a: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, </a:t>
            </a:r>
            <a:r>
              <a:rPr lang="en-US" sz="2100" b="1" kern="1200" dirty="0" err="1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Uncrustify</a:t>
            </a: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personal preferences, often without rationale.</a:t>
            </a:r>
          </a:p>
          <a:p>
            <a:pPr marL="342900" indent="-342900" defTabSz="685800">
              <a:buClrTx/>
              <a:buFont typeface="Arial" panose="020B0604020202020204" pitchFamily="34" charset="0"/>
              <a:buChar char="•"/>
            </a:pPr>
            <a:endParaRPr lang="en-US" sz="2100" b="1" kern="1200" dirty="0">
              <a:solidFill>
                <a:prstClr val="white"/>
              </a:solidFill>
              <a:latin typeface="Avenir Next LT Pro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Avenir Next LT Pro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4302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15.04.2024 12:26:06"/>
  <p:tag name="MIO_LASTDOWNLOADED" val="03.07.2024 11:44:27.861"/>
  <p:tag name="MIO_CDID" val="531547a1-6921-4a73-8514-e2d26a6e33a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FrontPage_TIOBE">
  <a:themeElements>
    <a:clrScheme name="TIOBE">
      <a:dk1>
        <a:srgbClr val="000000"/>
      </a:dk1>
      <a:lt1>
        <a:srgbClr val="FFFFFF"/>
      </a:lt1>
      <a:dk2>
        <a:srgbClr val="4A8CFF"/>
      </a:dk2>
      <a:lt2>
        <a:srgbClr val="F2F7FC"/>
      </a:lt2>
      <a:accent1>
        <a:srgbClr val="2C77BD"/>
      </a:accent1>
      <a:accent2>
        <a:srgbClr val="EA5735"/>
      </a:accent2>
      <a:accent3>
        <a:srgbClr val="003BA3"/>
      </a:accent3>
      <a:accent4>
        <a:srgbClr val="2C77BD"/>
      </a:accent4>
      <a:accent5>
        <a:srgbClr val="231F20"/>
      </a:accent5>
      <a:accent6>
        <a:srgbClr val="2C77BD"/>
      </a:accent6>
      <a:hlink>
        <a:srgbClr val="003BA3"/>
      </a:hlink>
      <a:folHlink>
        <a:srgbClr val="003BA3"/>
      </a:folHlink>
    </a:clrScheme>
    <a:fontScheme name="TIOBE_HouseStyle">
      <a:majorFont>
        <a:latin typeface="Titillium Web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_TIOBE">
  <a:themeElements>
    <a:clrScheme name="TIOBE">
      <a:dk1>
        <a:srgbClr val="000000"/>
      </a:dk1>
      <a:lt1>
        <a:srgbClr val="FFFFFF"/>
      </a:lt1>
      <a:dk2>
        <a:srgbClr val="4A8CFF"/>
      </a:dk2>
      <a:lt2>
        <a:srgbClr val="F2F7FC"/>
      </a:lt2>
      <a:accent1>
        <a:srgbClr val="2C77BD"/>
      </a:accent1>
      <a:accent2>
        <a:srgbClr val="EA5735"/>
      </a:accent2>
      <a:accent3>
        <a:srgbClr val="003BA3"/>
      </a:accent3>
      <a:accent4>
        <a:srgbClr val="2C77BD"/>
      </a:accent4>
      <a:accent5>
        <a:srgbClr val="231F20"/>
      </a:accent5>
      <a:accent6>
        <a:srgbClr val="2C77BD"/>
      </a:accent6>
      <a:hlink>
        <a:srgbClr val="003BA3"/>
      </a:hlink>
      <a:folHlink>
        <a:srgbClr val="003BA3"/>
      </a:folHlink>
    </a:clrScheme>
    <a:fontScheme name="Custom 3">
      <a:majorFont>
        <a:latin typeface="Titillium Web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lides_TIOBE">
  <a:themeElements>
    <a:clrScheme name="TIOBE">
      <a:dk1>
        <a:srgbClr val="000000"/>
      </a:dk1>
      <a:lt1>
        <a:srgbClr val="FFFFFF"/>
      </a:lt1>
      <a:dk2>
        <a:srgbClr val="4A8CFF"/>
      </a:dk2>
      <a:lt2>
        <a:srgbClr val="F2F7FC"/>
      </a:lt2>
      <a:accent1>
        <a:srgbClr val="2C77BD"/>
      </a:accent1>
      <a:accent2>
        <a:srgbClr val="EA5735"/>
      </a:accent2>
      <a:accent3>
        <a:srgbClr val="003BA3"/>
      </a:accent3>
      <a:accent4>
        <a:srgbClr val="2C77BD"/>
      </a:accent4>
      <a:accent5>
        <a:srgbClr val="231F20"/>
      </a:accent5>
      <a:accent6>
        <a:srgbClr val="2C77BD"/>
      </a:accent6>
      <a:hlink>
        <a:srgbClr val="003BA3"/>
      </a:hlink>
      <a:folHlink>
        <a:srgbClr val="003BA3"/>
      </a:folHlink>
    </a:clrScheme>
    <a:fontScheme name="Custom 3">
      <a:majorFont>
        <a:latin typeface="Titillium Web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Slides_TIOBE">
  <a:themeElements>
    <a:clrScheme name="TIOBE">
      <a:dk1>
        <a:srgbClr val="000000"/>
      </a:dk1>
      <a:lt1>
        <a:srgbClr val="FFFFFF"/>
      </a:lt1>
      <a:dk2>
        <a:srgbClr val="4A8CFF"/>
      </a:dk2>
      <a:lt2>
        <a:srgbClr val="F2F7FC"/>
      </a:lt2>
      <a:accent1>
        <a:srgbClr val="2C77BD"/>
      </a:accent1>
      <a:accent2>
        <a:srgbClr val="EA5735"/>
      </a:accent2>
      <a:accent3>
        <a:srgbClr val="003BA3"/>
      </a:accent3>
      <a:accent4>
        <a:srgbClr val="2C77BD"/>
      </a:accent4>
      <a:accent5>
        <a:srgbClr val="231F20"/>
      </a:accent5>
      <a:accent6>
        <a:srgbClr val="2C77BD"/>
      </a:accent6>
      <a:hlink>
        <a:srgbClr val="003BA3"/>
      </a:hlink>
      <a:folHlink>
        <a:srgbClr val="003BA3"/>
      </a:folHlink>
    </a:clrScheme>
    <a:fontScheme name="Custom 3">
      <a:majorFont>
        <a:latin typeface="Titillium Web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Custom">
  <a:themeElements>
    <a:clrScheme name="Custom 74">
      <a:dk1>
        <a:sysClr val="windowText" lastClr="000000"/>
      </a:dk1>
      <a:lt1>
        <a:sysClr val="window" lastClr="FFFFFF"/>
      </a:lt1>
      <a:dk2>
        <a:srgbClr val="F8F0E3"/>
      </a:dk2>
      <a:lt2>
        <a:srgbClr val="E7E6E6"/>
      </a:lt2>
      <a:accent1>
        <a:srgbClr val="224E7F"/>
      </a:accent1>
      <a:accent2>
        <a:srgbClr val="385E88"/>
      </a:accent2>
      <a:accent3>
        <a:srgbClr val="AA2070"/>
      </a:accent3>
      <a:accent4>
        <a:srgbClr val="EC008C"/>
      </a:accent4>
      <a:accent5>
        <a:srgbClr val="582156"/>
      </a:accent5>
      <a:accent6>
        <a:srgbClr val="958EA2"/>
      </a:accent6>
      <a:hlink>
        <a:srgbClr val="0563C1"/>
      </a:hlink>
      <a:folHlink>
        <a:srgbClr val="954F72"/>
      </a:folHlink>
    </a:clrScheme>
    <a:fontScheme name="Custom 112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33968143_Win32_SL_V3" id="{4DA6DF5E-F5DF-461D-8863-50E9C5721FD0}" vid="{BC6DDDB8-E14A-47D1-98C5-2C109624FDA9}"/>
    </a:ext>
  </a:extLst>
</a:theme>
</file>

<file path=ppt/theme/theme6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58A94E32-D02A-470F-B270-0850FDF90CAE}" vid="{46371A1F-6575-4FE6-8214-9411973EB134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4e39a8c-e0e4-410b-8625-0e2ed5d22293">
      <UserInfo>
        <DisplayName>Paul Jansen</DisplayName>
        <AccountId>14</AccountId>
        <AccountType/>
      </UserInfo>
      <UserInfo>
        <DisplayName>Albert Vliegen</DisplayName>
        <AccountId>15</AccountId>
        <AccountType/>
      </UserInfo>
      <UserInfo>
        <DisplayName>Hendrik Klinkert</DisplayName>
        <AccountId>19</AccountId>
        <AccountType/>
      </UserInfo>
      <UserInfo>
        <DisplayName>Kris Dillemans</DisplayName>
        <AccountId>20</AccountId>
        <AccountType/>
      </UserInfo>
      <UserInfo>
        <DisplayName>Laurens Jansen</DisplayName>
        <AccountId>13</AccountId>
        <AccountType/>
      </UserInfo>
      <UserInfo>
        <DisplayName>Hans Sassenburg</DisplayName>
        <AccountId>21</AccountId>
        <AccountType/>
      </UserInfo>
      <UserInfo>
        <DisplayName>Anne-Linde Jansen</DisplayName>
        <AccountId>23</AccountId>
        <AccountType/>
      </UserInfo>
    </SharedWithUsers>
    <lcf76f155ced4ddcb4097134ff3c332f xmlns="08722745-6449-4947-a714-8a6018fba8c9">
      <Terms xmlns="http://schemas.microsoft.com/office/infopath/2007/PartnerControls"/>
    </lcf76f155ced4ddcb4097134ff3c332f>
    <TaxCatchAll xmlns="c4e39a8c-e0e4-410b-8625-0e2ed5d2229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50EA4BAFB4354AA65AD2A4F33F8BD2" ma:contentTypeVersion="14" ma:contentTypeDescription="Een nieuw document maken." ma:contentTypeScope="" ma:versionID="34b6516aca085ef81f22dbbb58ec7126">
  <xsd:schema xmlns:xsd="http://www.w3.org/2001/XMLSchema" xmlns:xs="http://www.w3.org/2001/XMLSchema" xmlns:p="http://schemas.microsoft.com/office/2006/metadata/properties" xmlns:ns2="08722745-6449-4947-a714-8a6018fba8c9" xmlns:ns3="c4e39a8c-e0e4-410b-8625-0e2ed5d22293" targetNamespace="http://schemas.microsoft.com/office/2006/metadata/properties" ma:root="true" ma:fieldsID="017adec65bd09204a403ed8a19c3a9ac" ns2:_="" ns3:_="">
    <xsd:import namespace="08722745-6449-4947-a714-8a6018fba8c9"/>
    <xsd:import namespace="c4e39a8c-e0e4-410b-8625-0e2ed5d222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722745-6449-4947-a714-8a6018fba8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Afbeeldingtags" ma:readOnly="false" ma:fieldId="{5cf76f15-5ced-4ddc-b409-7134ff3c332f}" ma:taxonomyMulti="true" ma:sspId="a174bb80-e8f4-4448-a9d6-ec3f552d74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e39a8c-e0e4-410b-8625-0e2ed5d2229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20630126-40af-40e8-adbf-5fbf7660f1b6}" ma:internalName="TaxCatchAll" ma:showField="CatchAllData" ma:web="c4e39a8c-e0e4-410b-8625-0e2ed5d222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CBF799-F20F-431B-973B-7000AF7F53DE}">
  <ds:schemaRefs>
    <ds:schemaRef ds:uri="08722745-6449-4947-a714-8a6018fba8c9"/>
    <ds:schemaRef ds:uri="c4e39a8c-e0e4-410b-8625-0e2ed5d2229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0916412-2AC2-440C-99B8-B2889399DA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1BC877-1C19-4686-B695-9E9917E40C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722745-6449-4947-a714-8a6018fba8c9"/>
    <ds:schemaRef ds:uri="c4e39a8c-e0e4-410b-8625-0e2ed5d222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1</Words>
  <Application>Microsoft Office PowerPoint</Application>
  <PresentationFormat>On-screen Show (16:9)</PresentationFormat>
  <Paragraphs>536</Paragraphs>
  <Slides>60</Slides>
  <Notes>42</Notes>
  <HiddenSlides>1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60</vt:i4>
      </vt:variant>
    </vt:vector>
  </HeadingPairs>
  <TitlesOfParts>
    <vt:vector size="78" baseType="lpstr">
      <vt:lpstr>Titillium Web SemiBold (Headings)</vt:lpstr>
      <vt:lpstr>Avenir Next LT Pro</vt:lpstr>
      <vt:lpstr>Courier New</vt:lpstr>
      <vt:lpstr>Arial</vt:lpstr>
      <vt:lpstr>Titillium Web SemiBold</vt:lpstr>
      <vt:lpstr>Roboto Light</vt:lpstr>
      <vt:lpstr>Work Sans</vt:lpstr>
      <vt:lpstr>PT Sans</vt:lpstr>
      <vt:lpstr>Microsoft JhengHei</vt:lpstr>
      <vt:lpstr>Calibri</vt:lpstr>
      <vt:lpstr>-apple-system</vt:lpstr>
      <vt:lpstr>Roboto Condensed</vt:lpstr>
      <vt:lpstr>FrontPage_TIOBE</vt:lpstr>
      <vt:lpstr>Slides_TIOBE</vt:lpstr>
      <vt:lpstr>Slides_TIOBE</vt:lpstr>
      <vt:lpstr>Slides_TIOBE</vt:lpstr>
      <vt:lpstr>Custom</vt:lpstr>
      <vt:lpstr>ASML Template 2021</vt:lpstr>
      <vt:lpstr>C++ Meetup Eindhoven: Writing better C++</vt:lpstr>
      <vt:lpstr>Companies</vt:lpstr>
      <vt:lpstr>History</vt:lpstr>
      <vt:lpstr>C++ Default Guidelines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OALS</vt:lpstr>
      <vt:lpstr>PowerPoint Presentation</vt:lpstr>
      <vt:lpstr>PowerPoint Presentation</vt:lpstr>
      <vt:lpstr>Discuss</vt:lpstr>
      <vt:lpstr>PowerPoint Presentation</vt:lpstr>
      <vt:lpstr>PowerPoint Presentation</vt:lpstr>
      <vt:lpstr>PowerPoint Presentation</vt:lpstr>
      <vt:lpstr>Take-aways  </vt:lpstr>
      <vt:lpstr>THANK YOU</vt:lpstr>
      <vt:lpstr>On the use of the C++ Core Guidelines</vt:lpstr>
      <vt:lpstr>Writing better C++ code</vt:lpstr>
      <vt:lpstr>Writing better C++ code</vt:lpstr>
      <vt:lpstr>Writing better C++ code</vt:lpstr>
      <vt:lpstr>Software Product Quality</vt:lpstr>
      <vt:lpstr>Software Product Quality</vt:lpstr>
      <vt:lpstr>Software Product Quality</vt:lpstr>
      <vt:lpstr>Using a coding standard</vt:lpstr>
      <vt:lpstr>Using a coding standard</vt:lpstr>
      <vt:lpstr>The C++ Core Guidelines</vt:lpstr>
      <vt:lpstr>The C++ Core Guidelines</vt:lpstr>
      <vt:lpstr>The C++ Core Guidelines</vt:lpstr>
      <vt:lpstr>The C++ Core Guidelines</vt:lpstr>
      <vt:lpstr>The C++ Core Guidelines</vt:lpstr>
      <vt:lpstr>PowerPoint Presentation</vt:lpstr>
      <vt:lpstr>Break</vt:lpstr>
      <vt:lpstr>C++ Meetup Implementing Coding Standards</vt:lpstr>
      <vt:lpstr>Paul Jansen</vt:lpstr>
      <vt:lpstr>TIOBE Index</vt:lpstr>
      <vt:lpstr>Customer base</vt:lpstr>
      <vt:lpstr>Overview</vt:lpstr>
      <vt:lpstr>Axiom 1</vt:lpstr>
      <vt:lpstr>Axiom 2</vt:lpstr>
      <vt:lpstr>Balancing coding standards rules</vt:lpstr>
      <vt:lpstr>Compiler warning</vt:lpstr>
      <vt:lpstr>Rule “Don’t use multiple returns in a function”</vt:lpstr>
      <vt:lpstr>Rule “Use braces for control statements”</vt:lpstr>
      <vt:lpstr>Example C++ Core Guideline rule</vt:lpstr>
      <vt:lpstr>Implementing C++ Core Guideline I.24</vt:lpstr>
      <vt:lpstr>C++ Coding Standards</vt:lpstr>
      <vt:lpstr>The consequences of MISRA-C++ (yesterday on Linkedin)</vt:lpstr>
      <vt:lpstr>TIOBE’s choice</vt:lpstr>
      <vt:lpstr>Changes are enforced!</vt:lpstr>
      <vt:lpstr>Company Code Quality Levels</vt:lpstr>
      <vt:lpstr>Quality Gates</vt:lpstr>
      <vt:lpstr>Quality Gates</vt:lpstr>
      <vt:lpstr>Axiom 3</vt:lpstr>
      <vt:lpstr>Axiom 4</vt:lpstr>
      <vt:lpstr>Axiom 5</vt:lpstr>
      <vt:lpstr>Quality gate coding standard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sen, Anne-Linde</dc:creator>
  <cp:lastModifiedBy>Laurens Jansen</cp:lastModifiedBy>
  <cp:revision>23</cp:revision>
  <dcterms:modified xsi:type="dcterms:W3CDTF">2024-11-27T13:5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50EA4BAFB4354AA65AD2A4F33F8BD2</vt:lpwstr>
  </property>
  <property fmtid="{D5CDD505-2E9C-101B-9397-08002B2CF9AE}" pid="3" name="MediaServiceImageTags">
    <vt:lpwstr/>
  </property>
</Properties>
</file>